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212.xml" ContentType="application/vnd.openxmlformats-officedocument.presentationml.slide+xml"/>
  <Override PartName="/ppt/tags/tag1263.xml" ContentType="application/vnd.openxmlformats-officedocument.presentationml.tags+xml"/>
  <Override PartName="/ppt/tags/tag1258.xml" ContentType="application/vnd.openxmlformats-officedocument.presentationml.tags+xml"/>
  <Override PartName="/ppt/tags/tag1279.xml" ContentType="application/vnd.openxmlformats-officedocument.presentationml.tags+xml"/>
  <Override PartName="/ppt/tags/tag1284.xml" ContentType="application/vnd.openxmlformats-officedocument.presentationml.tags+xml"/>
  <Override PartName="/ppt/tags/tag1300.xml" ContentType="application/vnd.openxmlformats-officedocument.presentationml.tags+xml"/>
  <Override PartName="/ppt/tags/tag1305.xml" ContentType="application/vnd.openxmlformats-officedocument.presentationml.tags+xml"/>
  <Override PartName="/ppt/tags/tag1321.xml" ContentType="application/vnd.openxmlformats-officedocument.presentationml.tags+xml"/>
  <Override PartName="/ppt/tags/tag1326.xml" ContentType="application/vnd.openxmlformats-officedocument.presentationml.tags+xml"/>
  <Override PartName="/ppt/tags/tag1253.xml" ContentType="application/vnd.openxmlformats-officedocument.presentationml.tags+xml"/>
  <Override PartName="/ppt/tags/tag1248.xml" ContentType="application/vnd.openxmlformats-officedocument.presentationml.tags+xml"/>
  <Override PartName="/ppt/tags/tag1269.xml" ContentType="application/vnd.openxmlformats-officedocument.presentationml.tags+xml"/>
  <Override PartName="/ppt/tags/tag1274.xml" ContentType="application/vnd.openxmlformats-officedocument.presentationml.tags+xml"/>
  <Override PartName="/ppt/tags/tag1290.xml" ContentType="application/vnd.openxmlformats-officedocument.presentationml.tags+xml"/>
  <Override PartName="/ppt/tags/tag1295.xml" ContentType="application/vnd.openxmlformats-officedocument.presentationml.tags+xml"/>
  <Override PartName="/ppt/tags/tag1311.xml" ContentType="application/vnd.openxmlformats-officedocument.presentationml.tags+xml"/>
  <Override PartName="/ppt/tags/tag1316.xml" ContentType="application/vnd.openxmlformats-officedocument.presentationml.tags+xml"/>
  <Override PartName="/ppt/tags/tag1242.xml" ContentType="application/vnd.openxmlformats-officedocument.presentationml.tags+xml"/>
  <Override PartName="/ppt/tags/tag1327.xml" ContentType="application/vnd.openxmlformats-officedocument.presentationml.tags+xml"/>
  <Override PartName="/ppt/notesSlides/notesSlide212.xml" ContentType="application/vnd.openxmlformats-officedocument.presentationml.notesSlide+xml"/>
  <Override PartName="/ppt/tags/tag1259.xml" ContentType="application/vnd.openxmlformats-officedocument.presentationml.tags+xml"/>
  <Override PartName="/ppt/tags/tag1264.xml" ContentType="application/vnd.openxmlformats-officedocument.presentationml.tags+xml"/>
  <Override PartName="/ppt/tags/tag1280.xml" ContentType="application/vnd.openxmlformats-officedocument.presentationml.tags+xml"/>
  <Override PartName="/ppt/tags/tag1285.xml" ContentType="application/vnd.openxmlformats-officedocument.presentationml.tags+xml"/>
  <Override PartName="/ppt/tags/tag1301.xml" ContentType="application/vnd.openxmlformats-officedocument.presentationml.tags+xml"/>
  <Override PartName="/ppt/tags/tag1306.xml" ContentType="application/vnd.openxmlformats-officedocument.presentationml.tags+xml"/>
  <Override PartName="/ppt/tags/tag1317.xml" ContentType="application/vnd.openxmlformats-officedocument.presentationml.tags+xml"/>
  <Override PartName="/ppt/tags/tag1322.xml" ContentType="application/vnd.openxmlformats-officedocument.presentationml.tags+xml"/>
  <Override PartName="/ppt/tags/tag1249.xml" ContentType="application/vnd.openxmlformats-officedocument.presentationml.tags+xml"/>
  <Override PartName="/ppt/tags/tag1254.xml" ContentType="application/vnd.openxmlformats-officedocument.presentationml.tags+xml"/>
  <Override PartName="/ppt/tags/tag1262.xml" ContentType="application/vnd.openxmlformats-officedocument.presentationml.tags+xml"/>
  <Override PartName="/ppt/tags/tag1270.xml" ContentType="application/vnd.openxmlformats-officedocument.presentationml.tags+xml"/>
  <Override PartName="/ppt/tags/tag1275.xml" ContentType="application/vnd.openxmlformats-officedocument.presentationml.tags+xml"/>
  <Override PartName="/ppt/tags/tag1283.xml" ContentType="application/vnd.openxmlformats-officedocument.presentationml.tags+xml"/>
  <Override PartName="/ppt/tags/tag1296.xml" ContentType="application/vnd.openxmlformats-officedocument.presentationml.tags+xml"/>
  <Override PartName="/ppt/tags/tag1304.xml" ContentType="application/vnd.openxmlformats-officedocument.presentationml.tags+xml"/>
  <Override PartName="/ppt/tags/tag1257.xml" ContentType="application/vnd.openxmlformats-officedocument.presentationml.tags+xml"/>
  <Override PartName="/ppt/tags/tag1278.xml" ContentType="application/vnd.openxmlformats-officedocument.presentationml.tags+xml"/>
  <Override PartName="/ppt/tags/tag1291.xml" ContentType="application/vnd.openxmlformats-officedocument.presentationml.tags+xml"/>
  <Override PartName="/ppt/tags/tag1299.xml" ContentType="application/vnd.openxmlformats-officedocument.presentationml.tags+xml"/>
  <Override PartName="/ppt/tags/tag1307.xml" ContentType="application/vnd.openxmlformats-officedocument.presentationml.tags+xml"/>
  <Override PartName="/ppt/tags/tag1312.xml" ContentType="application/vnd.openxmlformats-officedocument.presentationml.tags+xml"/>
  <Override PartName="/ppt/tags/tag1320.xml" ContentType="application/vnd.openxmlformats-officedocument.presentationml.tags+xml"/>
  <Override PartName="/ppt/tags/tag1325.xml" ContentType="application/vnd.openxmlformats-officedocument.presentationml.tags+xml"/>
  <Override PartName="/ppt/tags/tag1328.xml" ContentType="application/vnd.openxmlformats-officedocument.presentationml.tags+xml"/>
  <Override PartName="/ppt/tags/tag1243.xml" ContentType="application/vnd.openxmlformats-officedocument.presentationml.tags+xml"/>
  <Override PartName="/ppt/tags/tag1252.xml" ContentType="application/vnd.openxmlformats-officedocument.presentationml.tags+xml"/>
  <Override PartName="/ppt/tags/tag1260.xml" ContentType="application/vnd.openxmlformats-officedocument.presentationml.tags+xml"/>
  <Override PartName="/ppt/tags/tag1265.xml" ContentType="application/vnd.openxmlformats-officedocument.presentationml.tags+xml"/>
  <Override PartName="/ppt/tags/tag1273.xml" ContentType="application/vnd.openxmlformats-officedocument.presentationml.tags+xml"/>
  <Override PartName="/ppt/tags/tag1286.xml" ContentType="application/vnd.openxmlformats-officedocument.presentationml.tags+xml"/>
  <Override PartName="/ppt/tags/tag1294.xml" ContentType="application/vnd.openxmlformats-officedocument.presentationml.tags+xml"/>
  <Override PartName="/ppt/tags/tag1247.xml" ContentType="application/vnd.openxmlformats-officedocument.presentationml.tags+xml"/>
  <Override PartName="/ppt/tags/tag1268.xml" ContentType="application/vnd.openxmlformats-officedocument.presentationml.tags+xml"/>
  <Override PartName="/ppt/tags/tag1281.xml" ContentType="application/vnd.openxmlformats-officedocument.presentationml.tags+xml"/>
  <Override PartName="/ppt/tags/tag1289.xml" ContentType="application/vnd.openxmlformats-officedocument.presentationml.tags+xml"/>
  <Override PartName="/ppt/tags/tag1297.xml" ContentType="application/vnd.openxmlformats-officedocument.presentationml.tags+xml"/>
  <Override PartName="/ppt/tags/tag1302.xml" ContentType="application/vnd.openxmlformats-officedocument.presentationml.tags+xml"/>
  <Override PartName="/ppt/tags/tag1310.xml" ContentType="application/vnd.openxmlformats-officedocument.presentationml.tags+xml"/>
  <Override PartName="/ppt/tags/tag1315.xml" ContentType="application/vnd.openxmlformats-officedocument.presentationml.tags+xml"/>
  <Override PartName="/ppt/tags/tag1318.xml" ContentType="application/vnd.openxmlformats-officedocument.presentationml.tags+xml"/>
  <Override PartName="/ppt/tags/tag1323.xml" ContentType="application/vnd.openxmlformats-officedocument.presentationml.tags+xml"/>
  <Override PartName="/ppt/charts/chart47.xml" ContentType="application/vnd.openxmlformats-officedocument.drawingml.chart+xml"/>
  <Override PartName="/ppt/charts/chart49.xml" ContentType="application/vnd.openxmlformats-officedocument.drawingml.chart+xml"/>
  <Override PartName="/ppt/tags/tag1241.xml" ContentType="application/vnd.openxmlformats-officedocument.presentationml.tags+xml"/>
  <Override PartName="/ppt/tags/tag1246.xml" ContentType="application/vnd.openxmlformats-officedocument.presentationml.tags+xml"/>
  <Override PartName="/ppt/tags/tag1250.xml" ContentType="application/vnd.openxmlformats-officedocument.presentationml.tags+xml"/>
  <Override PartName="/ppt/tags/tag1255.xml" ContentType="application/vnd.openxmlformats-officedocument.presentationml.tags+xml"/>
  <Override PartName="/ppt/tags/tag1276.xml" ContentType="application/vnd.openxmlformats-officedocument.presentationml.tags+xml"/>
  <Override PartName="/ppt/tags/tag1271.xml" ContentType="application/vnd.openxmlformats-officedocument.presentationml.tags+xml"/>
  <Override PartName="/ppt/tags/tag1287.xml" ContentType="application/vnd.openxmlformats-officedocument.presentationml.tags+xml"/>
  <Override PartName="/ppt/tags/tag1292.xml" ContentType="application/vnd.openxmlformats-officedocument.presentationml.tags+xml"/>
  <Override PartName="/ppt/tags/tag1313.xml" ContentType="application/vnd.openxmlformats-officedocument.presentationml.tags+xml"/>
  <Override PartName="/ppt/tags/tag1244.xml" ContentType="application/vnd.openxmlformats-officedocument.presentationml.tags+xml"/>
  <Override PartName="/ppt/tags/tag1308.xml" ContentType="application/vnd.openxmlformats-officedocument.presentationml.tags+xml"/>
  <Override PartName="/ppt/tags/tag1329.xml" ContentType="application/vnd.openxmlformats-officedocument.presentationml.tags+xml"/>
  <Override PartName="/ppt/tags/tag1239.xml" ContentType="application/vnd.openxmlformats-officedocument.presentationml.tags+xml"/>
  <Override PartName="/ppt/tags/tag1266.xml" ContentType="application/vnd.openxmlformats-officedocument.presentationml.tags+xml"/>
  <Override PartName="/ppt/tags/tag1261.xml" ContentType="application/vnd.openxmlformats-officedocument.presentationml.tags+xml"/>
  <Override PartName="/ppt/tags/tag1277.xml" ContentType="application/vnd.openxmlformats-officedocument.presentationml.tags+xml"/>
  <Override PartName="/ppt/tags/tag1282.xml" ContentType="application/vnd.openxmlformats-officedocument.presentationml.tags+xml"/>
  <Override PartName="/ppt/tags/tag1303.xml" ContentType="application/vnd.openxmlformats-officedocument.presentationml.tags+xml"/>
  <Override PartName="/ppt/tags/tag1324.xml" ContentType="application/vnd.openxmlformats-officedocument.presentationml.tags+xml"/>
  <Override PartName="/ppt/tags/tag1298.xml" ContentType="application/vnd.openxmlformats-officedocument.presentationml.tags+xml"/>
  <Override PartName="/ppt/tags/tag1319.xml" ContentType="application/vnd.openxmlformats-officedocument.presentationml.tags+xml"/>
  <Override PartName="/ppt/tags/tag1256.xml" ContentType="application/vnd.openxmlformats-officedocument.presentationml.tags+xml"/>
  <Override PartName="/ppt/tags/tag1251.xml" ContentType="application/vnd.openxmlformats-officedocument.presentationml.tags+xml"/>
  <Override PartName="/ppt/tags/tag1267.xml" ContentType="application/vnd.openxmlformats-officedocument.presentationml.tags+xml"/>
  <Override PartName="/ppt/tags/tag1272.xml" ContentType="application/vnd.openxmlformats-officedocument.presentationml.tags+xml"/>
  <Override PartName="/ppt/tags/tag1293.xml" ContentType="application/vnd.openxmlformats-officedocument.presentationml.tags+xml"/>
  <Override PartName="/ppt/tags/tag1314.xml" ContentType="application/vnd.openxmlformats-officedocument.presentationml.tags+xml"/>
  <Override PartName="/ppt/charts/chart48.xml" ContentType="application/vnd.openxmlformats-officedocument.drawingml.chart+xml"/>
  <Override PartName="/ppt/tags/tag1245.xml" ContentType="application/vnd.openxmlformats-officedocument.presentationml.tags+xml"/>
  <Override PartName="/ppt/tags/tag1288.xml" ContentType="application/vnd.openxmlformats-officedocument.presentationml.tags+xml"/>
  <Override PartName="/ppt/tags/tag1309.xml" ContentType="application/vnd.openxmlformats-officedocument.presentationml.tags+xml"/>
  <Override PartName="/ppt/tags/tag1330.xml" ContentType="application/vnd.openxmlformats-officedocument.presentationml.tags+xml"/>
  <Override PartName="/ppt/charts/chart46.xml" ContentType="application/vnd.openxmlformats-officedocument.drawingml.chart+xml"/>
  <Override PartName="/ppt/tags/tag1240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11" r:id="rId21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212.xml" Id="rId215" /><Relationship Type="http://schemas.openxmlformats.org/officeDocument/2006/relationships/presProps" Target="/ppt/presProps.xml" Id="rId257" /></Relationships>
</file>

<file path=ppt/charts/_rels/chart46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45.xlsb" Id="rId1" /></Relationships>
</file>

<file path=ppt/charts/_rels/chart47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46.xlsb" Id="rId1" /></Relationships>
</file>

<file path=ppt/charts/_rels/chart48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47.xlsb" Id="rId1" /></Relationships>
</file>

<file path=ppt/charts/_rels/chart49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48.xlsb" Id="rId1" /></Relationships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117252931323283"/>
          <c:y val="9.3422306959008578E-2"/>
          <c:w val="0.80134003350083749"/>
          <c:h val="0.813155386081982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323</c:v>
                </c:pt>
                <c:pt idx="1">
                  <c:v>330</c:v>
                </c:pt>
                <c:pt idx="2">
                  <c:v>350</c:v>
                </c:pt>
                <c:pt idx="3">
                  <c:v>360</c:v>
                </c:pt>
                <c:pt idx="4">
                  <c:v>377</c:v>
                </c:pt>
                <c:pt idx="5">
                  <c:v>380</c:v>
                </c:pt>
                <c:pt idx="6">
                  <c:v>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12-4B3E-BBC3-966CCB0922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62683840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5112-4B3E-BBC3-966CCB0922DC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112-4B3E-BBC3-966CCB0922DC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112-4B3E-BBC3-966CCB0922DC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112-4B3E-BBC3-966CCB0922DC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112-4B3E-BBC3-966CCB0922DC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112-4B3E-BBC3-966CCB0922DC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112-4B3E-BBC3-966CCB0922DC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0">
                  <c:v>36</c:v>
                </c:pt>
                <c:pt idx="1">
                  <c:v>38</c:v>
                </c:pt>
                <c:pt idx="2">
                  <c:v>39</c:v>
                </c:pt>
                <c:pt idx="3">
                  <c:v>40</c:v>
                </c:pt>
                <c:pt idx="4">
                  <c:v>42.22</c:v>
                </c:pt>
                <c:pt idx="5">
                  <c:v>41.63</c:v>
                </c:pt>
                <c:pt idx="6">
                  <c:v>58.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5112-4B3E-BBC3-966CCB0922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462683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62683840"/>
        <c:crosses val="min"/>
        <c:crossBetween val="between"/>
        <c:majorUnit val="20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6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0&quot;k&quot;;&quot;-&quot;0&quot;k&quot;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833333333333332E-2"/>
          <c:y val="5.2953156822810592E-2"/>
          <c:w val="0.95833333333333337"/>
          <c:h val="0.894093686354378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val>
            <c:numRef>
              <c:f>Sheet1!$A$1:$E$1</c:f>
              <c:numCache>
                <c:formatCode>General</c:formatCode>
                <c:ptCount val="5"/>
                <c:pt idx="0">
                  <c:v>6528.5797839999996</c:v>
                </c:pt>
                <c:pt idx="1">
                  <c:v>14570.187377</c:v>
                </c:pt>
                <c:pt idx="2">
                  <c:v>23611.794969999999</c:v>
                </c:pt>
                <c:pt idx="3">
                  <c:v>30653.402563</c:v>
                </c:pt>
                <c:pt idx="4">
                  <c:v>33695.010155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9D-4576-B049-9F5CBB35F154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val>
            <c:numRef>
              <c:f>Sheet1!$A$2:$E$2</c:f>
              <c:numCache>
                <c:formatCode>General</c:formatCode>
                <c:ptCount val="5"/>
                <c:pt idx="0">
                  <c:v>10415.746495000001</c:v>
                </c:pt>
                <c:pt idx="1">
                  <c:v>11618.016970999999</c:v>
                </c:pt>
                <c:pt idx="2">
                  <c:v>12820.287446999999</c:v>
                </c:pt>
                <c:pt idx="3">
                  <c:v>13022.557922999997</c:v>
                </c:pt>
                <c:pt idx="4">
                  <c:v>14224.828398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9D-4576-B049-9F5CBB35F154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val>
            <c:numRef>
              <c:f>Sheet1!$A$3:$E$3</c:f>
              <c:numCache>
                <c:formatCode>General</c:formatCode>
                <c:ptCount val="5"/>
                <c:pt idx="0">
                  <c:v>10300.188625999999</c:v>
                </c:pt>
                <c:pt idx="1">
                  <c:v>13254.944547999999</c:v>
                </c:pt>
                <c:pt idx="2">
                  <c:v>16209.700469999996</c:v>
                </c:pt>
                <c:pt idx="3">
                  <c:v>19164.456392</c:v>
                </c:pt>
                <c:pt idx="4">
                  <c:v>22119.212314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9D-4576-B049-9F5CBB35F154}"/>
            </c:ext>
          </c:extLst>
        </c:ser>
        <c:ser>
          <c:idx val="3"/>
          <c:order val="3"/>
          <c:spPr>
            <a:solidFill>
              <a:schemeClr val="bg2"/>
            </a:solidFill>
            <a:ln>
              <a:noFill/>
            </a:ln>
          </c:spPr>
          <c:val>
            <c:numRef>
              <c:f>Sheet1!$A$4:$E$4</c:f>
              <c:numCache>
                <c:formatCode>General</c:formatCode>
                <c:ptCount val="5"/>
                <c:pt idx="0">
                  <c:v>4683.8126339999981</c:v>
                </c:pt>
                <c:pt idx="1">
                  <c:v>5622.2479820000008</c:v>
                </c:pt>
                <c:pt idx="2">
                  <c:v>6560.6833299999998</c:v>
                </c:pt>
                <c:pt idx="3">
                  <c:v>7499.1186780000062</c:v>
                </c:pt>
                <c:pt idx="4">
                  <c:v>8437.554025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9D-4576-B049-9F5CBB35F1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2730240"/>
        <c:axId val="1"/>
      </c:areaChart>
      <c:catAx>
        <c:axId val="462730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zh-CN"/>
          </a:p>
        </c:txPr>
        <c:crossAx val="462730240"/>
        <c:crosses val="min"/>
        <c:crossBetween val="midCat"/>
        <c:majorUnit val="20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376324442820606"/>
          <c:y val="9.1247672253258846E-2"/>
          <c:w val="0.87723785166240409"/>
          <c:h val="0.8175046554934822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val>
            <c:numRef>
              <c:f>Sheet1!$A$1:$E$1</c:f>
              <c:numCache>
                <c:formatCode>General</c:formatCode>
                <c:ptCount val="5"/>
                <c:pt idx="0">
                  <c:v>20.447609653294343</c:v>
                </c:pt>
                <c:pt idx="1">
                  <c:v>32.331208391316459</c:v>
                </c:pt>
                <c:pt idx="2">
                  <c:v>39.883127306645662</c:v>
                </c:pt>
                <c:pt idx="3">
                  <c:v>43.57919386401926</c:v>
                </c:pt>
                <c:pt idx="4">
                  <c:v>42.936376007962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82-4DA2-A1D6-6C588F5E2A2E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val>
            <c:numRef>
              <c:f>Sheet1!$A$2:$E$2</c:f>
              <c:numCache>
                <c:formatCode>General</c:formatCode>
                <c:ptCount val="5"/>
                <c:pt idx="0">
                  <c:v>32.622274005042428</c:v>
                </c:pt>
                <c:pt idx="1">
                  <c:v>25.780349837930039</c:v>
                </c:pt>
                <c:pt idx="2">
                  <c:v>21.654988831054222</c:v>
                </c:pt>
                <c:pt idx="3">
                  <c:v>18.513852586689662</c:v>
                </c:pt>
                <c:pt idx="4">
                  <c:v>18.126202602715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82-4DA2-A1D6-6C588F5E2A2E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val>
            <c:numRef>
              <c:f>Sheet1!$A$3:$E$3</c:f>
              <c:numCache>
                <c:formatCode>General</c:formatCode>
                <c:ptCount val="5"/>
                <c:pt idx="0">
                  <c:v>32.260345028778801</c:v>
                </c:pt>
                <c:pt idx="1">
                  <c:v>29.412687929684679</c:v>
                </c:pt>
                <c:pt idx="2">
                  <c:v>27.380110163967085</c:v>
                </c:pt>
                <c:pt idx="3">
                  <c:v>27.245639654163543</c:v>
                </c:pt>
                <c:pt idx="4">
                  <c:v>28.185740633906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A82-4DA2-A1D6-6C588F5E2A2E}"/>
            </c:ext>
          </c:extLst>
        </c:ser>
        <c:ser>
          <c:idx val="3"/>
          <c:order val="3"/>
          <c:spPr>
            <a:solidFill>
              <a:schemeClr val="bg2"/>
            </a:solidFill>
            <a:ln>
              <a:noFill/>
            </a:ln>
          </c:spPr>
          <c:val>
            <c:numRef>
              <c:f>Sheet1!$A$4:$E$4</c:f>
              <c:numCache>
                <c:formatCode>General</c:formatCode>
                <c:ptCount val="5"/>
                <c:pt idx="0">
                  <c:v>14.669771312884428</c:v>
                </c:pt>
                <c:pt idx="1">
                  <c:v>12.475753841068826</c:v>
                </c:pt>
                <c:pt idx="2">
                  <c:v>11.08177369833302</c:v>
                </c:pt>
                <c:pt idx="3">
                  <c:v>10.661313895127533</c:v>
                </c:pt>
                <c:pt idx="4">
                  <c:v>10.751680755416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A82-4DA2-A1D6-6C588F5E2A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2786240"/>
        <c:axId val="1"/>
      </c:areaChart>
      <c:catAx>
        <c:axId val="462786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62786240"/>
        <c:crosses val="min"/>
        <c:crossBetween val="midCat"/>
        <c:majorUnit val="2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787439613526575E-2"/>
          <c:y val="0.17427385892116182"/>
          <c:w val="0.88888888888888884"/>
          <c:h val="0.70788381742738593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15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EA7A-49AD-8951-DDC4FB55C8CE}"/>
              </c:ext>
            </c:extLst>
          </c:dPt>
          <c:dLbls>
            <c:dLbl>
              <c:idx val="15"/>
              <c:layout>
                <c:manualLayout>
                  <c:x val="0"/>
                  <c:y val="-8.6307053941908712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A7A-49AD-8951-DDC4FB55C8C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19723</c:v>
                </c:pt>
                <c:pt idx="1">
                  <c:v>20089</c:v>
                </c:pt>
                <c:pt idx="2">
                  <c:v>20454</c:v>
                </c:pt>
                <c:pt idx="3">
                  <c:v>20819</c:v>
                </c:pt>
                <c:pt idx="4">
                  <c:v>21184</c:v>
                </c:pt>
                <c:pt idx="5">
                  <c:v>21550</c:v>
                </c:pt>
                <c:pt idx="6">
                  <c:v>21915</c:v>
                </c:pt>
                <c:pt idx="7">
                  <c:v>22280</c:v>
                </c:pt>
                <c:pt idx="8">
                  <c:v>22645</c:v>
                </c:pt>
                <c:pt idx="9">
                  <c:v>23011</c:v>
                </c:pt>
                <c:pt idx="10">
                  <c:v>23376</c:v>
                </c:pt>
                <c:pt idx="11">
                  <c:v>23741</c:v>
                </c:pt>
                <c:pt idx="12">
                  <c:v>24106</c:v>
                </c:pt>
                <c:pt idx="13">
                  <c:v>24472</c:v>
                </c:pt>
                <c:pt idx="14">
                  <c:v>24837</c:v>
                </c:pt>
                <c:pt idx="15">
                  <c:v>25202</c:v>
                </c:pt>
              </c:numCache>
            </c:numRef>
          </c:xVal>
          <c:yVal>
            <c:numRef>
              <c:f>Sheet1!$A$2:$P$2</c:f>
              <c:numCache>
                <c:formatCode>General</c:formatCode>
                <c:ptCount val="16"/>
                <c:pt idx="0">
                  <c:v>8</c:v>
                </c:pt>
                <c:pt idx="1">
                  <c:v>6</c:v>
                </c:pt>
                <c:pt idx="2">
                  <c:v>12</c:v>
                </c:pt>
                <c:pt idx="3">
                  <c:v>17</c:v>
                </c:pt>
                <c:pt idx="4">
                  <c:v>16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.999999999999996</c:v>
                </c:pt>
                <c:pt idx="9">
                  <c:v>18.000000000000004</c:v>
                </c:pt>
                <c:pt idx="10">
                  <c:v>17</c:v>
                </c:pt>
                <c:pt idx="11">
                  <c:v>17</c:v>
                </c:pt>
                <c:pt idx="12">
                  <c:v>18.999999999999996</c:v>
                </c:pt>
                <c:pt idx="13">
                  <c:v>21</c:v>
                </c:pt>
                <c:pt idx="14">
                  <c:v>23</c:v>
                </c:pt>
                <c:pt idx="15">
                  <c:v>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A7A-49AD-8951-DDC4FB55C8CE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15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A7A-49AD-8951-DDC4FB55C8CE}"/>
              </c:ext>
            </c:extLst>
          </c:dPt>
          <c:dLbls>
            <c:dLbl>
              <c:idx val="15"/>
              <c:layout>
                <c:manualLayout>
                  <c:x val="0"/>
                  <c:y val="8.6307053941908712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A7A-49AD-8951-DDC4FB55C8C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19723</c:v>
                </c:pt>
                <c:pt idx="1">
                  <c:v>20089</c:v>
                </c:pt>
                <c:pt idx="2">
                  <c:v>20454</c:v>
                </c:pt>
                <c:pt idx="3">
                  <c:v>20819</c:v>
                </c:pt>
                <c:pt idx="4">
                  <c:v>21184</c:v>
                </c:pt>
                <c:pt idx="5">
                  <c:v>21550</c:v>
                </c:pt>
                <c:pt idx="6">
                  <c:v>21915</c:v>
                </c:pt>
                <c:pt idx="7">
                  <c:v>22280</c:v>
                </c:pt>
                <c:pt idx="8">
                  <c:v>22645</c:v>
                </c:pt>
                <c:pt idx="9">
                  <c:v>23011</c:v>
                </c:pt>
                <c:pt idx="10">
                  <c:v>23376</c:v>
                </c:pt>
                <c:pt idx="11">
                  <c:v>23741</c:v>
                </c:pt>
                <c:pt idx="12">
                  <c:v>24106</c:v>
                </c:pt>
                <c:pt idx="13">
                  <c:v>24472</c:v>
                </c:pt>
                <c:pt idx="14">
                  <c:v>24837</c:v>
                </c:pt>
                <c:pt idx="15">
                  <c:v>25202</c:v>
                </c:pt>
              </c:numCache>
            </c:numRef>
          </c:xVal>
          <c:yVal>
            <c:numRef>
              <c:f>Sheet1!$A$3:$P$3</c:f>
              <c:numCache>
                <c:formatCode>General</c:formatCode>
                <c:ptCount val="16"/>
                <c:pt idx="0">
                  <c:v>5.0999999999999996</c:v>
                </c:pt>
                <c:pt idx="1">
                  <c:v>6</c:v>
                </c:pt>
                <c:pt idx="2">
                  <c:v>6.3000000000000007</c:v>
                </c:pt>
                <c:pt idx="3">
                  <c:v>6.6999999999999993</c:v>
                </c:pt>
                <c:pt idx="4">
                  <c:v>10.8</c:v>
                </c:pt>
                <c:pt idx="5">
                  <c:v>9.6999999999999993</c:v>
                </c:pt>
                <c:pt idx="6">
                  <c:v>7.8999999999999986</c:v>
                </c:pt>
                <c:pt idx="7">
                  <c:v>11.2</c:v>
                </c:pt>
                <c:pt idx="8">
                  <c:v>11.5</c:v>
                </c:pt>
                <c:pt idx="9">
                  <c:v>10.3</c:v>
                </c:pt>
                <c:pt idx="10">
                  <c:v>12.8</c:v>
                </c:pt>
                <c:pt idx="11">
                  <c:v>9.5</c:v>
                </c:pt>
                <c:pt idx="12">
                  <c:v>18.3</c:v>
                </c:pt>
                <c:pt idx="13">
                  <c:v>20.3</c:v>
                </c:pt>
                <c:pt idx="14">
                  <c:v>20.3</c:v>
                </c:pt>
                <c:pt idx="15">
                  <c:v>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EA7A-49AD-8951-DDC4FB55C8CE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15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A7A-49AD-8951-DDC4FB55C8CE}"/>
              </c:ext>
            </c:extLst>
          </c:dPt>
          <c:dLbls>
            <c:dLbl>
              <c:idx val="15"/>
              <c:layout>
                <c:manualLayout>
                  <c:x val="0"/>
                  <c:y val="8.6307053941908712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A7A-49AD-8951-DDC4FB55C8C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19723</c:v>
                </c:pt>
                <c:pt idx="1">
                  <c:v>20089</c:v>
                </c:pt>
                <c:pt idx="2">
                  <c:v>20454</c:v>
                </c:pt>
                <c:pt idx="3">
                  <c:v>20819</c:v>
                </c:pt>
                <c:pt idx="4">
                  <c:v>21184</c:v>
                </c:pt>
                <c:pt idx="5">
                  <c:v>21550</c:v>
                </c:pt>
                <c:pt idx="6">
                  <c:v>21915</c:v>
                </c:pt>
                <c:pt idx="7">
                  <c:v>22280</c:v>
                </c:pt>
                <c:pt idx="8">
                  <c:v>22645</c:v>
                </c:pt>
                <c:pt idx="9">
                  <c:v>23011</c:v>
                </c:pt>
                <c:pt idx="10">
                  <c:v>23376</c:v>
                </c:pt>
                <c:pt idx="11">
                  <c:v>23741</c:v>
                </c:pt>
                <c:pt idx="12">
                  <c:v>24106</c:v>
                </c:pt>
                <c:pt idx="13">
                  <c:v>24472</c:v>
                </c:pt>
                <c:pt idx="14">
                  <c:v>24837</c:v>
                </c:pt>
                <c:pt idx="15">
                  <c:v>25202</c:v>
                </c:pt>
              </c:numCache>
            </c:numRef>
          </c:xVal>
          <c:yVal>
            <c:numRef>
              <c:f>Sheet1!$A$4:$P$4</c:f>
              <c:numCache>
                <c:formatCode>General</c:formatCode>
                <c:ptCount val="16"/>
                <c:pt idx="0">
                  <c:v>2.6999999999999993</c:v>
                </c:pt>
                <c:pt idx="1">
                  <c:v>3.4000000000000004</c:v>
                </c:pt>
                <c:pt idx="2">
                  <c:v>4.0999999999999996</c:v>
                </c:pt>
                <c:pt idx="3">
                  <c:v>4.3000000000000007</c:v>
                </c:pt>
                <c:pt idx="4">
                  <c:v>5.8000000000000007</c:v>
                </c:pt>
                <c:pt idx="5">
                  <c:v>5</c:v>
                </c:pt>
                <c:pt idx="6">
                  <c:v>5.0999999999999996</c:v>
                </c:pt>
                <c:pt idx="7">
                  <c:v>7.3000000000000007</c:v>
                </c:pt>
                <c:pt idx="8">
                  <c:v>8.6999999999999993</c:v>
                </c:pt>
                <c:pt idx="9">
                  <c:v>8.3000000000000007</c:v>
                </c:pt>
                <c:pt idx="10">
                  <c:v>9.1999999999999993</c:v>
                </c:pt>
                <c:pt idx="11">
                  <c:v>5.3000000000000007</c:v>
                </c:pt>
                <c:pt idx="12">
                  <c:v>14.2</c:v>
                </c:pt>
                <c:pt idx="13">
                  <c:v>15.399999999999999</c:v>
                </c:pt>
                <c:pt idx="14">
                  <c:v>16</c:v>
                </c:pt>
                <c:pt idx="15">
                  <c:v>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EA7A-49AD-8951-DDC4FB55C8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5567"/>
          <c:min val="1972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"/>
        <c:crosses val="min"/>
        <c:crossBetween val="midCat"/>
        <c:majorUnit val="4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1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12.xml.rels>&#65279;<?xml version="1.0" encoding="utf-8"?><Relationships xmlns="http://schemas.openxmlformats.org/package/2006/relationships"><Relationship Type="http://schemas.openxmlformats.org/officeDocument/2006/relationships/slide" Target="/ppt/slides/slide212.xml" Id="rId2" /><Relationship Type="http://schemas.openxmlformats.org/officeDocument/2006/relationships/notesMaster" Target="/ppt/notesMasters/notesMaster1.xml" Id="rId1" /></Relationships>
</file>

<file path=ppt/notesSlides/notesSlide2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95275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12.xml.rels>&#65279;<?xml version="1.0" encoding="utf-8"?><Relationships xmlns="http://schemas.openxmlformats.org/package/2006/relationships"><Relationship Type="http://schemas.openxmlformats.org/officeDocument/2006/relationships/tags" Target="/ppt/tags/tag1263.xml" Id="rId26" /><Relationship Type="http://schemas.openxmlformats.org/officeDocument/2006/relationships/tags" Target="/ppt/tags/tag1258.xml" Id="rId21" /><Relationship Type="http://schemas.openxmlformats.org/officeDocument/2006/relationships/tags" Target="/ppt/tags/tag1279.xml" Id="rId42" /><Relationship Type="http://schemas.openxmlformats.org/officeDocument/2006/relationships/tags" Target="/ppt/tags/tag1284.xml" Id="rId47" /><Relationship Type="http://schemas.openxmlformats.org/officeDocument/2006/relationships/tags" Target="/ppt/tags/tag1300.xml" Id="rId63" /><Relationship Type="http://schemas.openxmlformats.org/officeDocument/2006/relationships/tags" Target="/ppt/tags/tag1305.xml" Id="rId68" /><Relationship Type="http://schemas.openxmlformats.org/officeDocument/2006/relationships/tags" Target="/ppt/tags/tag1321.xml" Id="rId84" /><Relationship Type="http://schemas.openxmlformats.org/officeDocument/2006/relationships/tags" Target="/ppt/tags/tag1326.xml" Id="rId89" /><Relationship Type="http://schemas.openxmlformats.org/officeDocument/2006/relationships/tags" Target="/ppt/tags/tag1253.xml" Id="rId16" /><Relationship Type="http://schemas.openxmlformats.org/officeDocument/2006/relationships/tags" Target="/ppt/tags/tag1248.xml" Id="rId11" /><Relationship Type="http://schemas.openxmlformats.org/officeDocument/2006/relationships/tags" Target="/ppt/tags/tag1269.xml" Id="rId32" /><Relationship Type="http://schemas.openxmlformats.org/officeDocument/2006/relationships/tags" Target="/ppt/tags/tag1274.xml" Id="rId37" /><Relationship Type="http://schemas.openxmlformats.org/officeDocument/2006/relationships/tags" Target="/ppt/tags/tag1290.xml" Id="rId53" /><Relationship Type="http://schemas.openxmlformats.org/officeDocument/2006/relationships/tags" Target="/ppt/tags/tag1295.xml" Id="rId58" /><Relationship Type="http://schemas.openxmlformats.org/officeDocument/2006/relationships/tags" Target="/ppt/tags/tag1311.xml" Id="rId74" /><Relationship Type="http://schemas.openxmlformats.org/officeDocument/2006/relationships/tags" Target="/ppt/tags/tag1316.xml" Id="rId79" /><Relationship Type="http://schemas.openxmlformats.org/officeDocument/2006/relationships/tags" Target="/ppt/tags/tag1242.xml" Id="rId5" /><Relationship Type="http://schemas.openxmlformats.org/officeDocument/2006/relationships/tags" Target="/ppt/tags/tag1327.xml" Id="rId90" /><Relationship Type="http://schemas.openxmlformats.org/officeDocument/2006/relationships/notesSlide" Target="/ppt/notesSlides/notesSlide212.xml" Id="rId95" /><Relationship Type="http://schemas.openxmlformats.org/officeDocument/2006/relationships/tags" Target="/ppt/tags/tag1259.xml" Id="rId22" /><Relationship Type="http://schemas.openxmlformats.org/officeDocument/2006/relationships/tags" Target="/ppt/tags/tag1264.xml" Id="rId27" /><Relationship Type="http://schemas.openxmlformats.org/officeDocument/2006/relationships/tags" Target="/ppt/tags/tag1280.xml" Id="rId43" /><Relationship Type="http://schemas.openxmlformats.org/officeDocument/2006/relationships/tags" Target="/ppt/tags/tag1285.xml" Id="rId48" /><Relationship Type="http://schemas.openxmlformats.org/officeDocument/2006/relationships/tags" Target="/ppt/tags/tag1301.xml" Id="rId64" /><Relationship Type="http://schemas.openxmlformats.org/officeDocument/2006/relationships/tags" Target="/ppt/tags/tag1306.xml" Id="rId69" /><Relationship Type="http://schemas.openxmlformats.org/officeDocument/2006/relationships/tags" Target="/ppt/tags/tag1317.xml" Id="rId80" /><Relationship Type="http://schemas.openxmlformats.org/officeDocument/2006/relationships/tags" Target="/ppt/tags/tag1322.xml" Id="rId85" /><Relationship Type="http://schemas.openxmlformats.org/officeDocument/2006/relationships/tags" Target="/ppt/tags/tag1249.xml" Id="rId12" /><Relationship Type="http://schemas.openxmlformats.org/officeDocument/2006/relationships/tags" Target="/ppt/tags/tag1254.xml" Id="rId17" /><Relationship Type="http://schemas.openxmlformats.org/officeDocument/2006/relationships/tags" Target="/ppt/tags/tag1262.xml" Id="rId25" /><Relationship Type="http://schemas.openxmlformats.org/officeDocument/2006/relationships/tags" Target="/ppt/tags/tag1270.xml" Id="rId33" /><Relationship Type="http://schemas.openxmlformats.org/officeDocument/2006/relationships/tags" Target="/ppt/tags/tag1275.xml" Id="rId38" /><Relationship Type="http://schemas.openxmlformats.org/officeDocument/2006/relationships/tags" Target="/ppt/tags/tag1283.xml" Id="rId46" /><Relationship Type="http://schemas.openxmlformats.org/officeDocument/2006/relationships/tags" Target="/ppt/tags/tag1296.xml" Id="rId59" /><Relationship Type="http://schemas.openxmlformats.org/officeDocument/2006/relationships/tags" Target="/ppt/tags/tag1304.xml" Id="rId67" /><Relationship Type="http://schemas.openxmlformats.org/officeDocument/2006/relationships/tags" Target="/ppt/tags/tag1257.xml" Id="rId20" /><Relationship Type="http://schemas.openxmlformats.org/officeDocument/2006/relationships/tags" Target="/ppt/tags/tag1278.xml" Id="rId41" /><Relationship Type="http://schemas.openxmlformats.org/officeDocument/2006/relationships/tags" Target="/ppt/tags/tag1291.xml" Id="rId54" /><Relationship Type="http://schemas.openxmlformats.org/officeDocument/2006/relationships/tags" Target="/ppt/tags/tag1299.xml" Id="rId62" /><Relationship Type="http://schemas.openxmlformats.org/officeDocument/2006/relationships/tags" Target="/ppt/tags/tag1307.xml" Id="rId70" /><Relationship Type="http://schemas.openxmlformats.org/officeDocument/2006/relationships/tags" Target="/ppt/tags/tag1312.xml" Id="rId75" /><Relationship Type="http://schemas.openxmlformats.org/officeDocument/2006/relationships/tags" Target="/ppt/tags/tag1320.xml" Id="rId83" /><Relationship Type="http://schemas.openxmlformats.org/officeDocument/2006/relationships/tags" Target="/ppt/tags/tag1325.xml" Id="rId88" /><Relationship Type="http://schemas.openxmlformats.org/officeDocument/2006/relationships/tags" Target="/ppt/tags/tag1328.xml" Id="rId91" /><Relationship Type="http://schemas.openxmlformats.org/officeDocument/2006/relationships/oleObject" Target="/ppt/embeddings/oleObject216.bin" Id="rId96" /><Relationship Type="http://schemas.openxmlformats.org/officeDocument/2006/relationships/vmlDrawing" Target="/ppt/drawings/vmlDrawing216.vml" Id="rId1" /><Relationship Type="http://schemas.openxmlformats.org/officeDocument/2006/relationships/tags" Target="/ppt/tags/tag1243.xml" Id="rId6" /><Relationship Type="http://schemas.openxmlformats.org/officeDocument/2006/relationships/tags" Target="/ppt/tags/tag1252.xml" Id="rId15" /><Relationship Type="http://schemas.openxmlformats.org/officeDocument/2006/relationships/tags" Target="/ppt/tags/tag1260.xml" Id="rId23" /><Relationship Type="http://schemas.openxmlformats.org/officeDocument/2006/relationships/tags" Target="/ppt/tags/tag1265.xml" Id="rId28" /><Relationship Type="http://schemas.openxmlformats.org/officeDocument/2006/relationships/tags" Target="/ppt/tags/tag1273.xml" Id="rId36" /><Relationship Type="http://schemas.openxmlformats.org/officeDocument/2006/relationships/tags" Target="/ppt/tags/tag1286.xml" Id="rId49" /><Relationship Type="http://schemas.openxmlformats.org/officeDocument/2006/relationships/tags" Target="/ppt/tags/tag1294.xml" Id="rId57" /><Relationship Type="http://schemas.openxmlformats.org/officeDocument/2006/relationships/tags" Target="/ppt/tags/tag1247.xml" Id="rId10" /><Relationship Type="http://schemas.openxmlformats.org/officeDocument/2006/relationships/tags" Target="/ppt/tags/tag1268.xml" Id="rId31" /><Relationship Type="http://schemas.openxmlformats.org/officeDocument/2006/relationships/tags" Target="/ppt/tags/tag1281.xml" Id="rId44" /><Relationship Type="http://schemas.openxmlformats.org/officeDocument/2006/relationships/tags" Target="/ppt/tags/tag1289.xml" Id="rId52" /><Relationship Type="http://schemas.openxmlformats.org/officeDocument/2006/relationships/tags" Target="/ppt/tags/tag1297.xml" Id="rId60" /><Relationship Type="http://schemas.openxmlformats.org/officeDocument/2006/relationships/tags" Target="/ppt/tags/tag1302.xml" Id="rId65" /><Relationship Type="http://schemas.openxmlformats.org/officeDocument/2006/relationships/tags" Target="/ppt/tags/tag1310.xml" Id="rId73" /><Relationship Type="http://schemas.openxmlformats.org/officeDocument/2006/relationships/tags" Target="/ppt/tags/tag1315.xml" Id="rId78" /><Relationship Type="http://schemas.openxmlformats.org/officeDocument/2006/relationships/tags" Target="/ppt/tags/tag1318.xml" Id="rId81" /><Relationship Type="http://schemas.openxmlformats.org/officeDocument/2006/relationships/tags" Target="/ppt/tags/tag1323.xml" Id="rId86" /><Relationship Type="http://schemas.openxmlformats.org/officeDocument/2006/relationships/slideLayout" Target="/ppt/slideLayouts/slideLayout5.xml" Id="rId94" /><Relationship Type="http://schemas.openxmlformats.org/officeDocument/2006/relationships/chart" Target="/ppt/charts/chart47.xml" Id="rId99" /><Relationship Type="http://schemas.openxmlformats.org/officeDocument/2006/relationships/chart" Target="/ppt/charts/chart49.xml" Id="rId101" /><Relationship Type="http://schemas.openxmlformats.org/officeDocument/2006/relationships/tags" Target="/ppt/tags/tag1241.xml" Id="rId4" /><Relationship Type="http://schemas.openxmlformats.org/officeDocument/2006/relationships/tags" Target="/ppt/tags/tag1246.xml" Id="rId9" /><Relationship Type="http://schemas.openxmlformats.org/officeDocument/2006/relationships/tags" Target="/ppt/tags/tag1250.xml" Id="rId13" /><Relationship Type="http://schemas.openxmlformats.org/officeDocument/2006/relationships/tags" Target="/ppt/tags/tag1255.xml" Id="rId18" /><Relationship Type="http://schemas.openxmlformats.org/officeDocument/2006/relationships/tags" Target="/ppt/tags/tag1276.xml" Id="rId39" /><Relationship Type="http://schemas.openxmlformats.org/officeDocument/2006/relationships/tags" Target="/ppt/tags/tag1271.xml" Id="rId34" /><Relationship Type="http://schemas.openxmlformats.org/officeDocument/2006/relationships/tags" Target="/ppt/tags/tag1287.xml" Id="rId50" /><Relationship Type="http://schemas.openxmlformats.org/officeDocument/2006/relationships/tags" Target="/ppt/tags/tag1292.xml" Id="rId55" /><Relationship Type="http://schemas.openxmlformats.org/officeDocument/2006/relationships/tags" Target="/ppt/tags/tag1313.xml" Id="rId76" /><Relationship Type="http://schemas.openxmlformats.org/officeDocument/2006/relationships/image" Target="/ppt/media/image4.emf" Id="rId97" /><Relationship Type="http://schemas.openxmlformats.org/officeDocument/2006/relationships/tags" Target="/ppt/tags/tag1244.xml" Id="rId7" /><Relationship Type="http://schemas.openxmlformats.org/officeDocument/2006/relationships/tags" Target="/ppt/tags/tag1308.xml" Id="rId71" /><Relationship Type="http://schemas.openxmlformats.org/officeDocument/2006/relationships/tags" Target="/ppt/tags/tag1329.xml" Id="rId92" /><Relationship Type="http://schemas.openxmlformats.org/officeDocument/2006/relationships/tags" Target="/ppt/tags/tag1239.xml" Id="rId2" /><Relationship Type="http://schemas.openxmlformats.org/officeDocument/2006/relationships/tags" Target="/ppt/tags/tag1266.xml" Id="rId29" /><Relationship Type="http://schemas.openxmlformats.org/officeDocument/2006/relationships/tags" Target="/ppt/tags/tag1261.xml" Id="rId24" /><Relationship Type="http://schemas.openxmlformats.org/officeDocument/2006/relationships/tags" Target="/ppt/tags/tag1277.xml" Id="rId40" /><Relationship Type="http://schemas.openxmlformats.org/officeDocument/2006/relationships/tags" Target="/ppt/tags/tag1282.xml" Id="rId45" /><Relationship Type="http://schemas.openxmlformats.org/officeDocument/2006/relationships/tags" Target="/ppt/tags/tag1303.xml" Id="rId66" /><Relationship Type="http://schemas.openxmlformats.org/officeDocument/2006/relationships/tags" Target="/ppt/tags/tag1324.xml" Id="rId87" /><Relationship Type="http://schemas.openxmlformats.org/officeDocument/2006/relationships/tags" Target="/ppt/tags/tag1298.xml" Id="rId61" /><Relationship Type="http://schemas.openxmlformats.org/officeDocument/2006/relationships/tags" Target="/ppt/tags/tag1319.xml" Id="rId82" /><Relationship Type="http://schemas.openxmlformats.org/officeDocument/2006/relationships/tags" Target="/ppt/tags/tag1256.xml" Id="rId19" /><Relationship Type="http://schemas.openxmlformats.org/officeDocument/2006/relationships/tags" Target="/ppt/tags/tag1251.xml" Id="rId14" /><Relationship Type="http://schemas.openxmlformats.org/officeDocument/2006/relationships/tags" Target="/ppt/tags/tag1267.xml" Id="rId30" /><Relationship Type="http://schemas.openxmlformats.org/officeDocument/2006/relationships/tags" Target="/ppt/tags/tag1272.xml" Id="rId35" /><Relationship Type="http://schemas.openxmlformats.org/officeDocument/2006/relationships/tags" Target="/ppt/tags/tag1293.xml" Id="rId56" /><Relationship Type="http://schemas.openxmlformats.org/officeDocument/2006/relationships/tags" Target="/ppt/tags/tag1314.xml" Id="rId77" /><Relationship Type="http://schemas.openxmlformats.org/officeDocument/2006/relationships/chart" Target="/ppt/charts/chart48.xml" Id="rId100" /><Relationship Type="http://schemas.openxmlformats.org/officeDocument/2006/relationships/tags" Target="/ppt/tags/tag1245.xml" Id="rId8" /><Relationship Type="http://schemas.openxmlformats.org/officeDocument/2006/relationships/tags" Target="/ppt/tags/tag1288.xml" Id="rId51" /><Relationship Type="http://schemas.openxmlformats.org/officeDocument/2006/relationships/tags" Target="/ppt/tags/tag1309.xml" Id="rId72" /><Relationship Type="http://schemas.openxmlformats.org/officeDocument/2006/relationships/tags" Target="/ppt/tags/tag1330.xml" Id="rId93" /><Relationship Type="http://schemas.openxmlformats.org/officeDocument/2006/relationships/chart" Target="/ppt/charts/chart46.xml" Id="rId98" /><Relationship Type="http://schemas.openxmlformats.org/officeDocument/2006/relationships/tags" Target="/ppt/tags/tag1240.xml" Id="rId3" /></Relationships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5500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3" name="think-cell 幻灯片" r:id="rId96" imgW="349" imgH="350" progId="TCLayout.ActiveDocument.1">
                  <p:embed/>
                </p:oleObj>
              </mc:Choice>
              <mc:Fallback>
                <p:oleObj name="think-cell 幻灯片" r:id="rId9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Line, area, area 100%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797C923-9F7B-153F-A9FD-FB3D74C6416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8199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olumns, bar, bars, think-cell, chart, charts, graph, graphs, comment</a:t>
            </a:r>
          </a:p>
        </p:txBody>
      </p:sp>
      <p:graphicFrame>
        <p:nvGraphicFramePr>
          <p:cNvPr id="116" name="Chart 3">
            <a:extLst>
              <a:ext uri="{FF2B5EF4-FFF2-40B4-BE49-F238E27FC236}">
                <a16:creationId xmlns:a16="http://schemas.microsoft.com/office/drawing/2014/main" id="{1CA55811-63CC-4DB5-AA21-BF389BB2E5E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95045630"/>
              </p:ext>
            </p:extLst>
          </p:nvPr>
        </p:nvGraphicFramePr>
        <p:xfrm>
          <a:off x="6083300" y="2035175"/>
          <a:ext cx="4738688" cy="1665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8"/>
          </a:graphicData>
        </a:graphic>
      </p:graphicFrame>
      <p:sp useBgFill="1">
        <p:nvSpPr>
          <p:cNvPr id="6" name="任意多边形: 形状 5">
            <a:extLst>
              <a:ext uri="{FF2B5EF4-FFF2-40B4-BE49-F238E27FC236}">
                <a16:creationId xmlns:a16="http://schemas.microsoft.com/office/drawing/2014/main" id="{B425CAB1-8EFB-4D50-91F2-A3D37A5F6DD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777413" y="2292350"/>
            <a:ext cx="79376" cy="247651"/>
          </a:xfrm>
          <a:custGeom>
            <a:avLst/>
            <a:gdLst/>
            <a:ahLst/>
            <a:cxnLst/>
            <a:rect l="0" t="0" r="0" b="0"/>
            <a:pathLst>
              <a:path w="79376" h="247651">
                <a:moveTo>
                  <a:pt x="79375" y="0"/>
                </a:moveTo>
                <a:lnTo>
                  <a:pt x="57150" y="82550"/>
                </a:lnTo>
                <a:lnTo>
                  <a:pt x="79375" y="165100"/>
                </a:lnTo>
                <a:lnTo>
                  <a:pt x="57150" y="247650"/>
                </a:lnTo>
                <a:lnTo>
                  <a:pt x="0" y="247650"/>
                </a:lnTo>
                <a:lnTo>
                  <a:pt x="22225" y="165100"/>
                </a:lnTo>
                <a:lnTo>
                  <a:pt x="0" y="82550"/>
                </a:lnTo>
                <a:lnTo>
                  <a:pt x="22225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 useBgFill="1">
        <p:nvSpPr>
          <p:cNvPr id="9" name="任意多边形: 形状 8">
            <a:extLst>
              <a:ext uri="{FF2B5EF4-FFF2-40B4-BE49-F238E27FC236}">
                <a16:creationId xmlns:a16="http://schemas.microsoft.com/office/drawing/2014/main" id="{C08A9690-5E05-491B-A280-5A3A9DB686C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769475" y="3471863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3" name="任意多边形: 形状 2">
            <a:extLst>
              <a:ext uri="{FF2B5EF4-FFF2-40B4-BE49-F238E27FC236}">
                <a16:creationId xmlns:a16="http://schemas.microsoft.com/office/drawing/2014/main" id="{FDBC238D-D106-4A96-8AA3-4319657E3D0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777413" y="2292350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F4F07D0B-B7B8-4341-9B5C-35C0C7EFCFF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834563" y="2292350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DDD9F8BB-9461-4125-BE17-08169F02205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769475" y="3471863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9E9378CB-3A79-4A49-B78F-ACEAF1FA1E4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826625" y="3471863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88B01BC7-BACC-06BD-1DF8-8CF9CD8DAAB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186487" y="1860550"/>
            <a:ext cx="528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</a:rPr>
              <a:t>Revenue</a:t>
            </a:r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06" name="Text Placeholder 2">
            <a:extLst>
              <a:ext uri="{FF2B5EF4-FFF2-40B4-BE49-F238E27FC236}">
                <a16:creationId xmlns:a16="http://schemas.microsoft.com/office/drawing/2014/main" id="{E07BDED1-06A0-5A9C-B6E5-48945B1FE771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0112375" y="1860550"/>
            <a:ext cx="606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</a:rPr>
              <a:t>Units sold</a:t>
            </a:r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07" name="Text Placeholder 2">
            <a:extLst>
              <a:ext uri="{FF2B5EF4-FFF2-40B4-BE49-F238E27FC236}">
                <a16:creationId xmlns:a16="http://schemas.microsoft.com/office/drawing/2014/main" id="{B8791EA3-3C69-DDB5-FB2A-D68BA6E229F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667500" y="3587750"/>
            <a:ext cx="334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8903B8F-28DA-4ABD-B467-3E9FD53673B2}" type="datetime'''''''''''''''''''''''20''''2''4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06E76424-B192-189F-B637-9810EDE1899F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208838" y="3587750"/>
            <a:ext cx="334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B8FE84-3B3A-457C-ACA3-058059EBF2A3}" type="datetime'''''''''''''''''''2''''''0''2''''''''5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BF6DB822-1542-6987-815E-9269F747AC00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751763" y="3587750"/>
            <a:ext cx="333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2576EA-984C-456E-B2DA-28A2181E685B}" type="datetime'''''''''''''''''''''''''''''''''2''0''''2''''''''''6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0" name="Text Placeholder 2">
            <a:extLst>
              <a:ext uri="{FF2B5EF4-FFF2-40B4-BE49-F238E27FC236}">
                <a16:creationId xmlns:a16="http://schemas.microsoft.com/office/drawing/2014/main" id="{838137EC-45B9-E746-FAA2-54EF1C6007D9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8299450" y="3587750"/>
            <a:ext cx="323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41EB14-BA25-46AB-B84D-CAC4FF4A0F57}" type="datetime'''2''''''''''''''0''''''''''''2''''''''''7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7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1" name="Text Placeholder 2">
            <a:extLst>
              <a:ext uri="{FF2B5EF4-FFF2-40B4-BE49-F238E27FC236}">
                <a16:creationId xmlns:a16="http://schemas.microsoft.com/office/drawing/2014/main" id="{B2B8F63A-7114-B0BA-2612-443A2E4129D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8836025" y="3587750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50B763-1584-4C1A-91D3-FAC6FB74384C}" type="datetime'''''''''''2''''''''''0''''''2''''''8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8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45E6953A-4E93-2984-0234-8E33012D5107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9378950" y="3587750"/>
            <a:ext cx="333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2FCEA06-64A3-45B1-ADC1-2B227C5D76B4}" type="datetime'''''''''''''''''''''''''''20''''''2''''''''''''''9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9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B4725574-E2C7-3A7E-0AAB-D8E791F5101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9921875" y="3587750"/>
            <a:ext cx="333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1BEF6A-2C93-4959-9853-A9C6CC98F4D7}" type="datetime'''''''''2''''''''''''''''''''''''0''''''3''''''5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2035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E8EC4944-90F9-294A-5C67-0B9E38ADB268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>
            <a:off x="10920413" y="2312988"/>
            <a:ext cx="233363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5" name="Rectangle 414">
            <a:extLst>
              <a:ext uri="{FF2B5EF4-FFF2-40B4-BE49-F238E27FC236}">
                <a16:creationId xmlns:a16="http://schemas.microsoft.com/office/drawing/2014/main" id="{4445C43F-67AB-5BEA-B9D9-C8FD86AE1B57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10983913" y="2449513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6" name="Oval 415">
            <a:extLst>
              <a:ext uri="{FF2B5EF4-FFF2-40B4-BE49-F238E27FC236}">
                <a16:creationId xmlns:a16="http://schemas.microsoft.com/office/drawing/2014/main" id="{23BD9F95-45A4-6CCF-05DD-E5103647C3B8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11004550" y="2281238"/>
            <a:ext cx="63500" cy="635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7" name="Rectangle 27">
            <a:extLst>
              <a:ext uri="{FF2B5EF4-FFF2-40B4-BE49-F238E27FC236}">
                <a16:creationId xmlns:a16="http://schemas.microsoft.com/office/drawing/2014/main" id="{540C2801-5285-77C9-5ADE-332B3EE589D6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1214100" y="2241550"/>
            <a:ext cx="6064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5E98D19-BA1A-47F6-BBF8-DA348604DC3F}" type="datetime'U''''n''''''''''''i''''''t''''''s ''s''o''''l''''d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Units sold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8" name="Rectangle 27">
            <a:extLst>
              <a:ext uri="{FF2B5EF4-FFF2-40B4-BE49-F238E27FC236}">
                <a16:creationId xmlns:a16="http://schemas.microsoft.com/office/drawing/2014/main" id="{5F56D940-0F46-B7F5-F7AA-3E0CC14154DB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1214099" y="2444750"/>
            <a:ext cx="5286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EEE94C8-F64F-437A-9ED1-04DDA3996687}" type="datetime'''''''''''''''''''''''R''e''''v''''''en''''''''u''e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Revenue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377" name="tc_columnheader">
            <a:extLst>
              <a:ext uri="{FF2B5EF4-FFF2-40B4-BE49-F238E27FC236}">
                <a16:creationId xmlns:a16="http://schemas.microsoft.com/office/drawing/2014/main" id="{7685BAF7-F438-EEBF-8767-94027E466EA9}"/>
              </a:ext>
            </a:extLst>
          </p:cNvPr>
          <p:cNvGrpSpPr/>
          <p:nvPr/>
        </p:nvGrpSpPr>
        <p:grpSpPr>
          <a:xfrm>
            <a:off x="407987" y="1557338"/>
            <a:ext cx="5604598" cy="251795"/>
            <a:chOff x="407988" y="1557338"/>
            <a:chExt cx="5576400" cy="251795"/>
          </a:xfrm>
        </p:grpSpPr>
        <p:sp>
          <p:nvSpPr>
            <p:cNvPr id="378" name="tc_columnhead">
              <a:extLst>
                <a:ext uri="{FF2B5EF4-FFF2-40B4-BE49-F238E27FC236}">
                  <a16:creationId xmlns:a16="http://schemas.microsoft.com/office/drawing/2014/main" id="{E9F39C6C-F637-0044-A903-67181B921DBF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251795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0">
                  <a:solidFill>
                    <a:schemeClr val="tx1"/>
                  </a:solidFill>
                </a:rPr>
                <a:t>Line</a:t>
              </a:r>
            </a:p>
          </p:txBody>
        </p:sp>
        <p:cxnSp>
          <p:nvCxnSpPr>
            <p:cNvPr id="379" name="tc_columnheadline">
              <a:extLst>
                <a:ext uri="{FF2B5EF4-FFF2-40B4-BE49-F238E27FC236}">
                  <a16:creationId xmlns:a16="http://schemas.microsoft.com/office/drawing/2014/main" id="{99CF2DCD-9571-0A3B-162F-D170F238C109}"/>
                </a:ext>
              </a:extLst>
            </p:cNvPr>
            <p:cNvCxnSpPr>
              <a:cxnSpLocks/>
              <a:stCxn id="378" idx="4"/>
              <a:endCxn id="37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7" name="tc_columnheader">
            <a:extLst>
              <a:ext uri="{FF2B5EF4-FFF2-40B4-BE49-F238E27FC236}">
                <a16:creationId xmlns:a16="http://schemas.microsoft.com/office/drawing/2014/main" id="{63549AF3-3F4F-5D69-268A-E34B8855494F}"/>
              </a:ext>
            </a:extLst>
          </p:cNvPr>
          <p:cNvGrpSpPr/>
          <p:nvPr/>
        </p:nvGrpSpPr>
        <p:grpSpPr>
          <a:xfrm>
            <a:off x="407988" y="3869489"/>
            <a:ext cx="5604598" cy="251795"/>
            <a:chOff x="407988" y="1557338"/>
            <a:chExt cx="5576400" cy="251795"/>
          </a:xfrm>
        </p:grpSpPr>
        <p:sp>
          <p:nvSpPr>
            <p:cNvPr id="388" name="tc_columnhead">
              <a:extLst>
                <a:ext uri="{FF2B5EF4-FFF2-40B4-BE49-F238E27FC236}">
                  <a16:creationId xmlns:a16="http://schemas.microsoft.com/office/drawing/2014/main" id="{C34DF783-F42F-0EFA-0746-D58E58FA8726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251795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0">
                  <a:solidFill>
                    <a:schemeClr val="tx1"/>
                  </a:solidFill>
                </a:rPr>
                <a:t>Area</a:t>
              </a:r>
            </a:p>
          </p:txBody>
        </p:sp>
        <p:cxnSp>
          <p:nvCxnSpPr>
            <p:cNvPr id="389" name="tc_columnheadline">
              <a:extLst>
                <a:ext uri="{FF2B5EF4-FFF2-40B4-BE49-F238E27FC236}">
                  <a16:creationId xmlns:a16="http://schemas.microsoft.com/office/drawing/2014/main" id="{6D20E02F-0C76-6C9D-514B-484F8490829D}"/>
                </a:ext>
              </a:extLst>
            </p:cNvPr>
            <p:cNvCxnSpPr>
              <a:cxnSpLocks/>
              <a:stCxn id="388" idx="4"/>
              <a:endCxn id="38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6" name="tc_columnheader">
            <a:extLst>
              <a:ext uri="{FF2B5EF4-FFF2-40B4-BE49-F238E27FC236}">
                <a16:creationId xmlns:a16="http://schemas.microsoft.com/office/drawing/2014/main" id="{D3B919DC-D678-5BC3-7B01-6A023186ED76}"/>
              </a:ext>
            </a:extLst>
          </p:cNvPr>
          <p:cNvGrpSpPr/>
          <p:nvPr/>
        </p:nvGrpSpPr>
        <p:grpSpPr>
          <a:xfrm>
            <a:off x="6215927" y="1557337"/>
            <a:ext cx="5604598" cy="251795"/>
            <a:chOff x="407988" y="1557338"/>
            <a:chExt cx="5576400" cy="251795"/>
          </a:xfrm>
        </p:grpSpPr>
        <p:sp>
          <p:nvSpPr>
            <p:cNvPr id="397" name="tc_columnhead">
              <a:extLst>
                <a:ext uri="{FF2B5EF4-FFF2-40B4-BE49-F238E27FC236}">
                  <a16:creationId xmlns:a16="http://schemas.microsoft.com/office/drawing/2014/main" id="{ADB3B175-3573-4EF7-F1E4-CB7C9CBF0D58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251795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0">
                  <a:solidFill>
                    <a:schemeClr val="tx1"/>
                  </a:solidFill>
                </a:rPr>
                <a:t>Combination</a:t>
              </a:r>
            </a:p>
          </p:txBody>
        </p:sp>
        <p:cxnSp>
          <p:nvCxnSpPr>
            <p:cNvPr id="398" name="tc_columnheadline">
              <a:extLst>
                <a:ext uri="{FF2B5EF4-FFF2-40B4-BE49-F238E27FC236}">
                  <a16:creationId xmlns:a16="http://schemas.microsoft.com/office/drawing/2014/main" id="{8D0710A6-D817-03AF-9889-2BEFB8AB1EFA}"/>
                </a:ext>
              </a:extLst>
            </p:cNvPr>
            <p:cNvCxnSpPr>
              <a:cxnSpLocks/>
              <a:stCxn id="397" idx="4"/>
              <a:endCxn id="397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9" name="tc_columnheader">
            <a:extLst>
              <a:ext uri="{FF2B5EF4-FFF2-40B4-BE49-F238E27FC236}">
                <a16:creationId xmlns:a16="http://schemas.microsoft.com/office/drawing/2014/main" id="{7F6F6070-767F-7090-DE7F-D5E996D3BAAD}"/>
              </a:ext>
            </a:extLst>
          </p:cNvPr>
          <p:cNvGrpSpPr/>
          <p:nvPr/>
        </p:nvGrpSpPr>
        <p:grpSpPr>
          <a:xfrm>
            <a:off x="6215927" y="3869489"/>
            <a:ext cx="5604598" cy="251795"/>
            <a:chOff x="407988" y="1557338"/>
            <a:chExt cx="5576400" cy="251795"/>
          </a:xfrm>
        </p:grpSpPr>
        <p:sp>
          <p:nvSpPr>
            <p:cNvPr id="440" name="tc_columnhead">
              <a:extLst>
                <a:ext uri="{FF2B5EF4-FFF2-40B4-BE49-F238E27FC236}">
                  <a16:creationId xmlns:a16="http://schemas.microsoft.com/office/drawing/2014/main" id="{98D33CAD-3809-6FA2-E47A-299485FD271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251795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0">
                  <a:solidFill>
                    <a:schemeClr val="tx1"/>
                  </a:solidFill>
                </a:rPr>
                <a:t>Area 100%</a:t>
              </a:r>
            </a:p>
          </p:txBody>
        </p:sp>
        <p:cxnSp>
          <p:nvCxnSpPr>
            <p:cNvPr id="441" name="tc_columnheadline">
              <a:extLst>
                <a:ext uri="{FF2B5EF4-FFF2-40B4-BE49-F238E27FC236}">
                  <a16:creationId xmlns:a16="http://schemas.microsoft.com/office/drawing/2014/main" id="{BE4A506C-49B5-28D8-A1DE-ABC949B0AF71}"/>
                </a:ext>
              </a:extLst>
            </p:cNvPr>
            <p:cNvCxnSpPr>
              <a:cxnSpLocks/>
              <a:stCxn id="440" idx="4"/>
              <a:endCxn id="44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17" name="Chart 3">
            <a:extLst>
              <a:ext uri="{FF2B5EF4-FFF2-40B4-BE49-F238E27FC236}">
                <a16:creationId xmlns:a16="http://schemas.microsoft.com/office/drawing/2014/main" id="{DFBCA045-4DB3-4E86-B930-A55D50AE9AFF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584045830"/>
              </p:ext>
            </p:extLst>
          </p:nvPr>
        </p:nvGraphicFramePr>
        <p:xfrm>
          <a:off x="590550" y="4413250"/>
          <a:ext cx="3962400" cy="1558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9"/>
          </a:graphicData>
        </a:graphic>
      </p:graphicFrame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17B17DA5-54A2-6764-DDC6-6B30438BC86D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61963" y="5826125"/>
            <a:ext cx="82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4E485F97-5C60-4FA0-A905-5D7AE642A460}" type="datetime'''''''''''''''''''''''''''''''''''''''''''''''''''''''0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337E0BD8-2871-7329-B07E-32407961C68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382588" y="5465763"/>
            <a:ext cx="161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5871C91-5E7A-4989-A182-1D5085602894}" type="datetime'''''''''''''''''''''''''2''''''''''''''''''0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982FC3F2-D3DE-D05D-EB19-86A616D1E0CE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81000" y="5116513"/>
            <a:ext cx="1635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41D4C60-ADC4-4998-83F3-CA05C3DB2C5B}" type="datetime'''''''4''''''''''''''''0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FC07101A-1C98-BD8D-0ED9-C24C0506BD1F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382588" y="4768850"/>
            <a:ext cx="161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14B81EE-E228-45DD-A15D-04E788923E48}" type="datetime'''''''''''''''6''''''''''''0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CE2E0C44-BF8B-A929-CC85-77BE1B147C8A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379413" y="4419600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6F815E8-3537-4EDB-8E0B-54A068B58CF3}" type="datetime'''8''''''''''''0''''''''''''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5" name="Rectangle 44">
            <a:extLst>
              <a:ext uri="{FF2B5EF4-FFF2-40B4-BE49-F238E27FC236}">
                <a16:creationId xmlns:a16="http://schemas.microsoft.com/office/drawing/2014/main" id="{6A497067-5254-0F9A-D75D-F3A7DCA3876F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379413" y="4165600"/>
            <a:ext cx="10001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</a:rPr>
              <a:t>Growth [USD m]</a:t>
            </a:r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0" name="Rectangle 3">
            <a:extLst>
              <a:ext uri="{FF2B5EF4-FFF2-40B4-BE49-F238E27FC236}">
                <a16:creationId xmlns:a16="http://schemas.microsoft.com/office/drawing/2014/main" id="{06CBCAF5-29B1-088F-DE6B-F03528757081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17525" y="5932488"/>
            <a:ext cx="3111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F27F7C2-0F87-48E2-9017-4A91F4B0A4B9}" type="datetime'''''''''2''0''''''''1''''''''''''''''''''''''''''''''8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0" name="Rectangle 12">
            <a:extLst>
              <a:ext uri="{FF2B5EF4-FFF2-40B4-BE49-F238E27FC236}">
                <a16:creationId xmlns:a16="http://schemas.microsoft.com/office/drawing/2014/main" id="{C864DB4C-4897-166F-A704-5E89E4AC920F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1455738" y="5932488"/>
            <a:ext cx="3333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17FF9D3-8647-4953-85AA-9EF842B113E0}" type="datetime'''''''''''''''''''''''''''''20''22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9" name="Rectangle 13">
            <a:extLst>
              <a:ext uri="{FF2B5EF4-FFF2-40B4-BE49-F238E27FC236}">
                <a16:creationId xmlns:a16="http://schemas.microsoft.com/office/drawing/2014/main" id="{85F62FA6-B044-8D2E-5126-AFD98AED0EF9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2365375" y="5932488"/>
            <a:ext cx="4127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ED2707-7945-4F08-846E-87B7257B42BA}" type="datetime'''''''2''''''''''''''''''''''0''''''3''''''''''0''''''F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30F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4" name="Rectangle 22">
            <a:extLst>
              <a:ext uri="{FF2B5EF4-FFF2-40B4-BE49-F238E27FC236}">
                <a16:creationId xmlns:a16="http://schemas.microsoft.com/office/drawing/2014/main" id="{D2A08320-357B-1BD0-B20F-1ACB5F99F4DE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316288" y="5932488"/>
            <a:ext cx="41116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2627645-8343-4938-ACB7-F2997D09516B}" type="datetime'''''2''''''''''''''''''''0''''''''''34F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34F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9" name="Rectangle 23">
            <a:extLst>
              <a:ext uri="{FF2B5EF4-FFF2-40B4-BE49-F238E27FC236}">
                <a16:creationId xmlns:a16="http://schemas.microsoft.com/office/drawing/2014/main" id="{299B5E56-B54C-40C0-9E6B-62C5D2A28388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4264025" y="5932488"/>
            <a:ext cx="4127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CB83E0-47BC-4EF4-A20E-0D3133D2B0DB}" type="datetime'2''''''''''03''''8''''''''''''''''F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38F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1" name="Rectangle 66">
            <a:extLst>
              <a:ext uri="{FF2B5EF4-FFF2-40B4-BE49-F238E27FC236}">
                <a16:creationId xmlns:a16="http://schemas.microsoft.com/office/drawing/2014/main" id="{8423C4C8-BAA9-FB72-4CFC-CF26BBEA293E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4705350" y="4551363"/>
            <a:ext cx="179388" cy="1333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Rectangle 67">
            <a:extLst>
              <a:ext uri="{FF2B5EF4-FFF2-40B4-BE49-F238E27FC236}">
                <a16:creationId xmlns:a16="http://schemas.microsoft.com/office/drawing/2014/main" id="{AC829FE9-7CDD-FF4E-2971-4E22E7767F49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4705350" y="4754563"/>
            <a:ext cx="179388" cy="13335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3" name="Rectangle 68">
            <a:extLst>
              <a:ext uri="{FF2B5EF4-FFF2-40B4-BE49-F238E27FC236}">
                <a16:creationId xmlns:a16="http://schemas.microsoft.com/office/drawing/2014/main" id="{ACC2E147-B917-7E7D-39BF-B372CC746A8B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4705350" y="4957763"/>
            <a:ext cx="179388" cy="13335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Rectangle 69">
            <a:extLst>
              <a:ext uri="{FF2B5EF4-FFF2-40B4-BE49-F238E27FC236}">
                <a16:creationId xmlns:a16="http://schemas.microsoft.com/office/drawing/2014/main" id="{52259037-554A-057B-B532-A0A1DCFDCE1F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4705350" y="5160963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Rectangle 14">
            <a:extLst>
              <a:ext uri="{FF2B5EF4-FFF2-40B4-BE49-F238E27FC236}">
                <a16:creationId xmlns:a16="http://schemas.microsoft.com/office/drawing/2014/main" id="{841C28A9-AB9F-F99C-E3B8-911FD88696E9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4935538" y="4546600"/>
            <a:ext cx="2746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06E0EC1-1724-492E-ADC6-B23D2BFB3241}" type="datetime'''''''''B''''''''''''''''P''''''''''''''''''''''O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BPO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6" name="Rectangle 15">
            <a:extLst>
              <a:ext uri="{FF2B5EF4-FFF2-40B4-BE49-F238E27FC236}">
                <a16:creationId xmlns:a16="http://schemas.microsoft.com/office/drawing/2014/main" id="{7E5AE522-BB2C-E33A-94C3-902A478045EA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4935538" y="4749800"/>
            <a:ext cx="6572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6B27930-4103-4748-96D8-92614BBD29C7}" type="datetime'''Con''''''''s''''''''''''ul''''t''i''''''''n''g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onsulting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7" name="Rectangle 19">
            <a:extLst>
              <a:ext uri="{FF2B5EF4-FFF2-40B4-BE49-F238E27FC236}">
                <a16:creationId xmlns:a16="http://schemas.microsoft.com/office/drawing/2014/main" id="{FC22D551-1414-34A3-CEA7-31C01CE71DEF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4935538" y="4953000"/>
            <a:ext cx="9604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9254FCE-AB3A-4D17-B63E-E2CD2A899E30}" type="datetime'''I''''mp''''le''m''''en''''''t''''at''i''o''n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Implementation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8" name="Rectangle 24">
            <a:extLst>
              <a:ext uri="{FF2B5EF4-FFF2-40B4-BE49-F238E27FC236}">
                <a16:creationId xmlns:a16="http://schemas.microsoft.com/office/drawing/2014/main" id="{78F4AAFF-2F38-298A-3D63-F8DDDCA9FAAC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4935538" y="5156200"/>
            <a:ext cx="11144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9914673-3D61-4789-B6E4-BD5776289E62}" type="datetime'''Ma''nage''''d'''' se''''r''v''i''ce''''''s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Managed services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118" name="Chart 3">
            <a:extLst>
              <a:ext uri="{FF2B5EF4-FFF2-40B4-BE49-F238E27FC236}">
                <a16:creationId xmlns:a16="http://schemas.microsoft.com/office/drawing/2014/main" id="{9D90E438-CBA1-4B72-8DD5-30433DC64762}"/>
              </a:ext>
            </a:extLst>
          </p:cNvPr>
          <p:cNvGraphicFramePr/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709987509"/>
              </p:ext>
            </p:extLst>
          </p:nvPr>
        </p:nvGraphicFramePr>
        <p:xfrm>
          <a:off x="6111875" y="4340225"/>
          <a:ext cx="4344988" cy="1704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cxnSp>
        <p:nvCxnSpPr>
          <p:cNvPr id="216" name="Straight Connector 93">
            <a:extLst>
              <a:ext uri="{FF2B5EF4-FFF2-40B4-BE49-F238E27FC236}">
                <a16:creationId xmlns:a16="http://schemas.microsoft.com/office/drawing/2014/main" id="{FCC024FA-56EC-DB2B-C072-1938DD254E7A}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 bwMode="auto">
          <a:xfrm>
            <a:off x="10379075" y="5889625"/>
            <a:ext cx="1143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7" name="Straight Connector 94">
            <a:extLst>
              <a:ext uri="{FF2B5EF4-FFF2-40B4-BE49-F238E27FC236}">
                <a16:creationId xmlns:a16="http://schemas.microsoft.com/office/drawing/2014/main" id="{43F98C35-AB8F-AAB6-D3B2-CF708B398BAE}"/>
              </a:ext>
            </a:extLst>
          </p:cNvPr>
          <p:cNvCxnSpPr>
            <a:cxnSpLocks/>
          </p:cNvCxnSpPr>
          <p:nvPr>
            <p:custDataLst>
              <p:tags r:id="rId46"/>
            </p:custDataLst>
          </p:nvPr>
        </p:nvCxnSpPr>
        <p:spPr bwMode="auto">
          <a:xfrm>
            <a:off x="10374313" y="5291138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Straight Connector 95">
            <a:extLst>
              <a:ext uri="{FF2B5EF4-FFF2-40B4-BE49-F238E27FC236}">
                <a16:creationId xmlns:a16="http://schemas.microsoft.com/office/drawing/2014/main" id="{6FC9FCC6-3916-B2B4-E468-AEAE1D94FBDF}"/>
              </a:ext>
            </a:extLst>
          </p:cNvPr>
          <p:cNvCxnSpPr>
            <a:cxnSpLocks/>
          </p:cNvCxnSpPr>
          <p:nvPr>
            <p:custDataLst>
              <p:tags r:id="rId47"/>
            </p:custDataLst>
          </p:nvPr>
        </p:nvCxnSpPr>
        <p:spPr bwMode="auto">
          <a:xfrm flipV="1">
            <a:off x="10450513" y="5287963"/>
            <a:ext cx="0" cy="6048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9" name="Rectangle 44">
            <a:extLst>
              <a:ext uri="{FF2B5EF4-FFF2-40B4-BE49-F238E27FC236}">
                <a16:creationId xmlns:a16="http://schemas.microsoft.com/office/drawing/2014/main" id="{6756EC3D-D5B5-970B-B0F8-96D2313E6EE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6215063" y="4178300"/>
            <a:ext cx="10572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</a:rPr>
              <a:t>Growth </a:t>
            </a:r>
            <a:r>
              <a:rPr lang="en-US" altLang="en-US" sz="1000">
                <a:solidFill>
                  <a:schemeClr val="bg2">
                    <a:lumMod val="10000"/>
                  </a:schemeClr>
                </a:solidFill>
              </a:rPr>
              <a:t>share</a:t>
            </a:r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</a:rPr>
              <a:t> [%]</a:t>
            </a:r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0" name="Rectangle 3">
            <a:extLst>
              <a:ext uri="{FF2B5EF4-FFF2-40B4-BE49-F238E27FC236}">
                <a16:creationId xmlns:a16="http://schemas.microsoft.com/office/drawing/2014/main" id="{2F8017E1-9D4D-B38E-CA92-A25AE69C2F7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6407150" y="5932488"/>
            <a:ext cx="3111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45FAF5D-59A2-4AF0-9E65-FAE96B636D86}" type="datetime'''''''''''20''''''''''''''''''''''''''1''''''''''''''''8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1" name="Rectangle 12">
            <a:extLst>
              <a:ext uri="{FF2B5EF4-FFF2-40B4-BE49-F238E27FC236}">
                <a16:creationId xmlns:a16="http://schemas.microsoft.com/office/drawing/2014/main" id="{1DD322E1-6425-FC2A-13A5-56A2BED170C9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7348538" y="5932488"/>
            <a:ext cx="3333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E4C4FF9-8133-4778-88F9-1BA51283EE08}" type="datetime'''''''''''''''''''''''20''''2''''''2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2" name="Rectangle 13">
            <a:extLst>
              <a:ext uri="{FF2B5EF4-FFF2-40B4-BE49-F238E27FC236}">
                <a16:creationId xmlns:a16="http://schemas.microsoft.com/office/drawing/2014/main" id="{644DEB31-30D8-7745-21CD-118E34F90A8F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8262938" y="5932488"/>
            <a:ext cx="4127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C1671B-EB89-4B93-A7DF-9BF6AB0A40B7}" type="datetime'''''''2''0''''''30''''''''''''''''''''''''''''''F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30F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3" name="Rectangle 22">
            <a:extLst>
              <a:ext uri="{FF2B5EF4-FFF2-40B4-BE49-F238E27FC236}">
                <a16:creationId xmlns:a16="http://schemas.microsoft.com/office/drawing/2014/main" id="{D90AACD5-FCE9-62C4-8054-92FB9F7AD8AE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9217025" y="5932488"/>
            <a:ext cx="41116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CDB3A15-E8BC-406A-983D-6D0717618F3E}" type="datetime'''2''''''''03''''''''''''''4''''''''''''''''F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34F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4" name="Rectangle 23">
            <a:extLst>
              <a:ext uri="{FF2B5EF4-FFF2-40B4-BE49-F238E27FC236}">
                <a16:creationId xmlns:a16="http://schemas.microsoft.com/office/drawing/2014/main" id="{1F4F6A96-580E-91EA-F983-AF63791FF6E8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10167938" y="5932488"/>
            <a:ext cx="4127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B452032-D975-4035-A27D-AC0EBD0CE905}" type="datetime'2''0''''''''''''38''''''''''F''''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38F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5" name="Oval 92">
            <a:extLst>
              <a:ext uri="{FF2B5EF4-FFF2-40B4-BE49-F238E27FC236}">
                <a16:creationId xmlns:a16="http://schemas.microsoft.com/office/drawing/2014/main" id="{FD2453E7-EAF3-0A0F-64DA-6AB870490B14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9750425" y="5416550"/>
            <a:ext cx="1401763" cy="431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</a:rPr>
              <a:t>MS target twice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</a:rPr>
              <a:t>by 20</a:t>
            </a:r>
            <a:r>
              <a:rPr lang="en-US" altLang="en-US" sz="1000">
                <a:solidFill>
                  <a:schemeClr val="bg2">
                    <a:lumMod val="10000"/>
                  </a:schemeClr>
                </a:solidFill>
              </a:rPr>
              <a:t>38 (</a:t>
            </a:r>
            <a:fld id="{AD59D20E-4FCD-4404-A9C7-ADE78DBFB211}" type="datetime'''''''''''''+4''''''3''''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43</a:t>
            </a:fld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</a:rPr>
              <a:t>%)</a:t>
            </a:r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6" name="Rectangle 66">
            <a:extLst>
              <a:ext uri="{FF2B5EF4-FFF2-40B4-BE49-F238E27FC236}">
                <a16:creationId xmlns:a16="http://schemas.microsoft.com/office/drawing/2014/main" id="{419791A8-14FE-F5F9-356A-7F5E37F00EA1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10514013" y="4551363"/>
            <a:ext cx="179388" cy="1333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Rectangle 67">
            <a:extLst>
              <a:ext uri="{FF2B5EF4-FFF2-40B4-BE49-F238E27FC236}">
                <a16:creationId xmlns:a16="http://schemas.microsoft.com/office/drawing/2014/main" id="{AB168248-E446-085D-D4FB-C78D32528302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10514013" y="4754563"/>
            <a:ext cx="179388" cy="13335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8" name="Rectangle 68">
            <a:extLst>
              <a:ext uri="{FF2B5EF4-FFF2-40B4-BE49-F238E27FC236}">
                <a16:creationId xmlns:a16="http://schemas.microsoft.com/office/drawing/2014/main" id="{5EECF321-3001-E929-D4A5-4B14C0A746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10514013" y="4957763"/>
            <a:ext cx="179388" cy="13335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9" name="Rectangle 69">
            <a:extLst>
              <a:ext uri="{FF2B5EF4-FFF2-40B4-BE49-F238E27FC236}">
                <a16:creationId xmlns:a16="http://schemas.microsoft.com/office/drawing/2014/main" id="{4522EE1A-A0F9-5E73-58C1-DB78F04F28E2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10514013" y="5160963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0" name="Rectangle 14">
            <a:extLst>
              <a:ext uri="{FF2B5EF4-FFF2-40B4-BE49-F238E27FC236}">
                <a16:creationId xmlns:a16="http://schemas.microsoft.com/office/drawing/2014/main" id="{527F1BED-7FD0-670B-3C79-0C225D44806E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10744200" y="4546600"/>
            <a:ext cx="2746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39F00FD-2E36-4ACD-BD95-05339794B954}" type="datetime'''''''''''B''''''''''''''P''''''''''''''''''O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BPO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31" name="Rectangle 15">
            <a:extLst>
              <a:ext uri="{FF2B5EF4-FFF2-40B4-BE49-F238E27FC236}">
                <a16:creationId xmlns:a16="http://schemas.microsoft.com/office/drawing/2014/main" id="{69CD3CAC-1B1A-63CA-1B71-539A11BF35AD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744200" y="4749800"/>
            <a:ext cx="6572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DF5CBB3-7CCB-4524-B9BA-BF8F9E036A97}" type="datetime'''C''''''''''on''''''''''''''''''''s''u''l''ti''n''''''g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onsulting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32" name="Rectangle 19">
            <a:extLst>
              <a:ext uri="{FF2B5EF4-FFF2-40B4-BE49-F238E27FC236}">
                <a16:creationId xmlns:a16="http://schemas.microsoft.com/office/drawing/2014/main" id="{F78DCF6D-7EE9-8C2B-932F-8883E16337A4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0744200" y="4953000"/>
            <a:ext cx="9604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69241DA-138F-4286-94AA-86974C70DCB2}" type="datetime'I''''mp''l''''''''em''''''e''''nta''''t''''''io''''''n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Implementation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33" name="Rectangle 24">
            <a:extLst>
              <a:ext uri="{FF2B5EF4-FFF2-40B4-BE49-F238E27FC236}">
                <a16:creationId xmlns:a16="http://schemas.microsoft.com/office/drawing/2014/main" id="{07429870-438D-0BAE-AA5B-4F56FE6E760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0744200" y="5156200"/>
            <a:ext cx="11144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F858590-921A-4E23-A173-14524DD696B5}" type="datetime'''''''''M''a''''n''''age''d'''''''' ''ser''v''''i''''''''ces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Managed services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Rectangle 18">
            <a:extLst>
              <a:ext uri="{FF2B5EF4-FFF2-40B4-BE49-F238E27FC236}">
                <a16:creationId xmlns:a16="http://schemas.microsoft.com/office/drawing/2014/main" id="{BBAF0906-A189-4598-92D7-D5A037DC24A2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</a:t>
            </a:r>
            <a:r>
              <a:rPr lang="en-US" sz="1200" b="1" u="sng">
                <a:solidFill>
                  <a:schemeClr val="tx1"/>
                </a:solidFill>
              </a:rPr>
              <a:t>think-cell chart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a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a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a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228B930-A5E8-3AD1-81B8-D992C321BA8F}"/>
              </a:ext>
            </a:extLst>
          </p:cNvPr>
          <p:cNvCxnSpPr/>
          <p:nvPr>
            <p:custDataLst>
              <p:tags r:id="rId63"/>
            </p:custDataLst>
          </p:nvPr>
        </p:nvCxnSpPr>
        <p:spPr bwMode="gray">
          <a:xfrm>
            <a:off x="673100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EF9F32D-9973-95A1-ABA8-B612AE84B6BB}"/>
              </a:ext>
            </a:extLst>
          </p:cNvPr>
          <p:cNvCxnSpPr/>
          <p:nvPr>
            <p:custDataLst>
              <p:tags r:id="rId64"/>
            </p:custDataLst>
          </p:nvPr>
        </p:nvCxnSpPr>
        <p:spPr bwMode="gray">
          <a:xfrm>
            <a:off x="1147763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DC8D5E2-267E-BCBA-80B2-2DFD0FD6ADA6}"/>
              </a:ext>
            </a:extLst>
          </p:cNvPr>
          <p:cNvCxnSpPr/>
          <p:nvPr>
            <p:custDataLst>
              <p:tags r:id="rId65"/>
            </p:custDataLst>
          </p:nvPr>
        </p:nvCxnSpPr>
        <p:spPr bwMode="gray">
          <a:xfrm>
            <a:off x="1622425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F25D921-5AEF-A895-D711-9653AA15C5F9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>
            <a:off x="2097088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56B4B32-3A68-E866-7643-73FFC19E351A}"/>
              </a:ext>
            </a:extLst>
          </p:cNvPr>
          <p:cNvCxnSpPr/>
          <p:nvPr>
            <p:custDataLst>
              <p:tags r:id="rId67"/>
            </p:custDataLst>
          </p:nvPr>
        </p:nvCxnSpPr>
        <p:spPr bwMode="gray">
          <a:xfrm>
            <a:off x="2571750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DEE1881-6F29-FDC7-7078-AEA433226EA3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3046413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55F305-3318-16B3-024E-155470953A18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3521075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4111AFC-FFCA-03A0-7D6A-142C6C3731A9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3995738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EAC0E07-BEA3-B582-CD7D-C275379C776B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4470400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9" name="Chart 3">
            <a:extLst>
              <a:ext uri="{FF2B5EF4-FFF2-40B4-BE49-F238E27FC236}">
                <a16:creationId xmlns:a16="http://schemas.microsoft.com/office/drawing/2014/main" id="{4263A9E4-B523-4A46-BEAE-DA22581E08AA}"/>
              </a:ext>
            </a:extLst>
          </p:cNvPr>
          <p:cNvGraphicFramePr/>
          <p:nvPr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725846527"/>
              </p:ext>
            </p:extLst>
          </p:nvPr>
        </p:nvGraphicFramePr>
        <p:xfrm>
          <a:off x="280988" y="1857375"/>
          <a:ext cx="4271962" cy="1912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66DF1221-9128-F869-545A-34DD2EE5B75F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512763" y="363061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53D0C2-88A5-4664-AAB5-A8A668E2688A}" type="datetime'''''''''''''''''''''2''''''''02''''''''''4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2024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900B933-2A2E-6183-EFF9-2A9BEF1913EF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987425" y="3630613"/>
            <a:ext cx="320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C24790-D32D-4808-ADB8-90C234AA73E6}" type="datetime'''''''''''''''''''''2''''''''''''''''''0''''26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2026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5807DE9D-8D5E-F4B9-01D2-6CC476655EED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1460500" y="3630613"/>
            <a:ext cx="323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0C21A4-F06C-4812-A8C0-06B602D5ED04}" type="datetime'''''''''''20''''''''2''''''''''''''''''''8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2028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AD2707E-148F-B31A-D1AD-B48710A413FD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1936750" y="363061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D177F3-F577-45E2-A78A-61BFFC0F51DC}" type="datetime'''''''''''2''''0''''''''3''''''''''0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203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52FCD025-0F08-EFF5-E310-A10201D1765D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2413000" y="3630613"/>
            <a:ext cx="319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EEF2058-B4D1-4B21-9B2D-AA19035936FF}" type="datetime'''''''''''''''''''''''''''''''''2''''''0''3''''2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2032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2D6A6B21-0684-8E50-5A3E-4C159EF38C32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2886075" y="3630613"/>
            <a:ext cx="320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0F7C900-AC8D-42DB-9FAB-B917B8B6BB14}" type="datetime'''''2''''''''''''''0''''''3''''4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2034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4E518581-91E9-8140-956F-0E02B4ABD51B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3362325" y="3630613"/>
            <a:ext cx="319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21897E-491A-4637-B374-24BD4FBC2CA7}" type="datetime'''''''''''''''''''''2''''''''''''0''''''''''''''''''3''''''6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2036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63E8975B-5BC6-C002-AA49-909DB2E9E820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3835400" y="363061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F8DCD8-34E0-46B2-84E1-74ED9D18BE16}" type="datetime'''''''''2''''''''''''''''''''''0''3''8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2038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35E27561-7EA5-0A83-1023-2C3ED066E069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4308475" y="3630613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C8DCEE-58D0-4CE4-9F9E-376D7C49AE1E}" type="datetime'''''''2''''''''''''''''''''''''0''''''''''4''''''0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204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D3EFA7A6-F44C-B394-21E8-53FD0CDC8E7D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4233863" y="2360613"/>
            <a:ext cx="6889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">
            <a:extLst>
              <a:ext uri="{FF2B5EF4-FFF2-40B4-BE49-F238E27FC236}">
                <a16:creationId xmlns:a16="http://schemas.microsoft.com/office/drawing/2014/main" id="{3A479C3F-7E76-6D1B-2601-DF51E0CD5F7E}"/>
              </a:ext>
            </a:extLst>
          </p:cNvPr>
          <p:cNvCxnSpPr>
            <a:cxnSpLocks/>
          </p:cNvCxnSpPr>
          <p:nvPr>
            <p:custDataLst>
              <p:tags r:id="rId83"/>
            </p:custDataLst>
          </p:nvPr>
        </p:nvCxnSpPr>
        <p:spPr bwMode="auto">
          <a:xfrm>
            <a:off x="4233863" y="2641600"/>
            <a:ext cx="6889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Straight Connector 14">
            <a:extLst>
              <a:ext uri="{FF2B5EF4-FFF2-40B4-BE49-F238E27FC236}">
                <a16:creationId xmlns:a16="http://schemas.microsoft.com/office/drawing/2014/main" id="{3DFECC06-BCB9-244A-63D5-2F11FE560EC7}"/>
              </a:ext>
            </a:extLst>
          </p:cNvPr>
          <p:cNvCxnSpPr>
            <a:cxnSpLocks/>
          </p:cNvCxnSpPr>
          <p:nvPr>
            <p:custDataLst>
              <p:tags r:id="rId84"/>
            </p:custDataLst>
          </p:nvPr>
        </p:nvCxnSpPr>
        <p:spPr bwMode="auto">
          <a:xfrm>
            <a:off x="4879975" y="2357437"/>
            <a:ext cx="0" cy="2873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60A6D0AE-5125-A0A4-40C4-DB6D9318E37C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 flipV="1">
            <a:off x="4233863" y="2432050"/>
            <a:ext cx="0" cy="174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5" name="Rectangle 185">
            <a:extLst>
              <a:ext uri="{FF2B5EF4-FFF2-40B4-BE49-F238E27FC236}">
                <a16:creationId xmlns:a16="http://schemas.microsoft.com/office/drawing/2014/main" id="{C65739CF-74EC-ADA2-7A9A-11D6A4B52483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384174" y="1860550"/>
            <a:ext cx="6810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</a:rPr>
              <a:t>Growth [%]</a:t>
            </a:r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7" name="Oval 11">
            <a:extLst>
              <a:ext uri="{FF2B5EF4-FFF2-40B4-BE49-F238E27FC236}">
                <a16:creationId xmlns:a16="http://schemas.microsoft.com/office/drawing/2014/main" id="{094AD190-D67E-ED5A-9B9C-46E659CDA4F0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4448174" y="2689225"/>
            <a:ext cx="863600" cy="431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>
                <a:solidFill>
                  <a:schemeClr val="bg2">
                    <a:lumMod val="10000"/>
                  </a:schemeClr>
                </a:solidFill>
                <a:effectLst/>
              </a:rPr>
              <a:t>D&amp;A gap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>
                <a:solidFill>
                  <a:schemeClr val="bg2">
                    <a:lumMod val="10000"/>
                  </a:schemeClr>
                </a:solidFill>
                <a:effectLst/>
              </a:rPr>
              <a:t>(</a:t>
            </a:r>
            <a:fld id="{68DB35B1-2047-48AA-9083-2ADAD4253ED4}" type="datetime'''''''''''''''''''''5''''''''''''''''p''p'''''''''''''''''''">
              <a:rPr lang="en-US" altLang="en-US" sz="1000" b="1" smtClean="0">
                <a:solidFill>
                  <a:schemeClr val="bg2">
                    <a:lumMod val="10000"/>
                  </a:schemeClr>
                </a:solidFill>
                <a:effectLst/>
              </a:rPr>
              <a:pPr/>
              <a:t>5pp</a:t>
            </a:fld>
            <a:r>
              <a:rPr lang="en-US" altLang="en-US" sz="1000" b="1">
                <a:solidFill>
                  <a:schemeClr val="bg2">
                    <a:lumMod val="10000"/>
                  </a:schemeClr>
                </a:solidFill>
                <a:effectLst/>
              </a:rPr>
              <a:t>)</a:t>
            </a:r>
            <a:endParaRPr lang="en-US" sz="1000" b="1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38" name="Straight Connector 6">
            <a:extLst>
              <a:ext uri="{FF2B5EF4-FFF2-40B4-BE49-F238E27FC236}">
                <a16:creationId xmlns:a16="http://schemas.microsoft.com/office/drawing/2014/main" id="{9751EE9E-4E88-8EF7-0FC1-55D1FDD5F8BD}"/>
              </a:ext>
            </a:extLst>
          </p:cNvPr>
          <p:cNvCxnSpPr>
            <a:cxnSpLocks/>
          </p:cNvCxnSpPr>
          <p:nvPr>
            <p:custDataLst>
              <p:tags r:id="rId88"/>
            </p:custDataLst>
          </p:nvPr>
        </p:nvCxnSpPr>
        <p:spPr bwMode="gray">
          <a:xfrm>
            <a:off x="5080000" y="2312988"/>
            <a:ext cx="16033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8">
            <a:extLst>
              <a:ext uri="{FF2B5EF4-FFF2-40B4-BE49-F238E27FC236}">
                <a16:creationId xmlns:a16="http://schemas.microsoft.com/office/drawing/2014/main" id="{B2F85E03-FA8C-42EC-EC4D-29E90BFAA941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gray">
          <a:xfrm>
            <a:off x="5080000" y="2516188"/>
            <a:ext cx="160338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9">
            <a:extLst>
              <a:ext uri="{FF2B5EF4-FFF2-40B4-BE49-F238E27FC236}">
                <a16:creationId xmlns:a16="http://schemas.microsoft.com/office/drawing/2014/main" id="{2EB63DDE-59D4-757E-8B98-506C9DEB4E61}"/>
              </a:ext>
            </a:extLst>
          </p:cNvPr>
          <p:cNvCxnSpPr>
            <a:cxnSpLocks/>
          </p:cNvCxnSpPr>
          <p:nvPr>
            <p:custDataLst>
              <p:tags r:id="rId90"/>
            </p:custDataLst>
          </p:nvPr>
        </p:nvCxnSpPr>
        <p:spPr bwMode="gray">
          <a:xfrm>
            <a:off x="5080000" y="2719388"/>
            <a:ext cx="160338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3" name="Rectangle 27">
            <a:extLst>
              <a:ext uri="{FF2B5EF4-FFF2-40B4-BE49-F238E27FC236}">
                <a16:creationId xmlns:a16="http://schemas.microsoft.com/office/drawing/2014/main" id="{31B90AC5-8BE6-031E-DAA5-712B372F0462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5300662" y="2241550"/>
            <a:ext cx="5286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3C67530-2880-4FF8-97F7-EAF756900A45}" type="datetime'''Rev''e''''''nu''''''''''''''''''''''''''''''''e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Revenue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4" name="Rectangle 28">
            <a:extLst>
              <a:ext uri="{FF2B5EF4-FFF2-40B4-BE49-F238E27FC236}">
                <a16:creationId xmlns:a16="http://schemas.microsoft.com/office/drawing/2014/main" id="{596CB290-6A9E-BF63-2F4E-84C5231FD7A0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300663" y="2444750"/>
            <a:ext cx="69056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E3E2AB1-9106-4EAA-8AB8-AB4EE35A381D}" type="datetime'''E''''V''''''''/''''E''''''''''''''''''''BI''T''D''''''A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EV/EBITDA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6" name="Rectangle 46">
            <a:extLst>
              <a:ext uri="{FF2B5EF4-FFF2-40B4-BE49-F238E27FC236}">
                <a16:creationId xmlns:a16="http://schemas.microsoft.com/office/drawing/2014/main" id="{86535DBA-FA76-84DD-006E-D13D53B50533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5300663" y="2647950"/>
            <a:ext cx="5048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9852389-45BD-468D-BB6B-BD96C2ED33DD}" type="datetime'''''''E''''V/''''''''''''''''''''E''''BI''''T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EV/EBIT</a:t>
            </a:fld>
            <a:endParaRPr 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5810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TdDlunZb0qbOV_cunbVw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cCZozZMM68tmJ1BQfMvQ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1tRKqrODGpDdxN6gf5jA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irYOK7Y0BP1.NtPGBPzA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pumJ4jzt9gil0ddU6SLQ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KyL5hxv2b.e4sNf6UzYw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B9t65p9NCslZofHTN2rQ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ZpTlVj9.bQcEkhHZxJ8g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UV9_hKHtzUEkDXvn29g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0Far2Hss9lCgW7gKE2YQ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5jRSBsMA7n1GGFVx6DRQ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osXwo1JLPawT47RjVQSA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uLeTEU37_261Srq_QqnA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a4FCWGO4d49hsU7dUBxA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XpSTuQa7Ti5vv_r67H6w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TiY14ah2ho5A5b1v0d8w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AR9H0CqWFecRdmldW1Cw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YTTIhG_IeTHEOeQgOOJg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z6uBEAYwhW46nzy0DY8g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mjL_85oP829n9HowEayQ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eCD1XIHp3MbkXZOBjMg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8iqWYqyXCOHIvwkLXAFw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EGQbRu51Xo2VKOq3iJkg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y8gru9sC.mL0nRSrEQzg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Om1aT1NrbGFXpn2JmTbg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fmR8MOfL4EWb0GCTvvqw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jhrZSeXSLCqq_5.6fzDA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4l6lZG7UR0yJMHmw4eHQ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BS5fu8A9f.Poya6sUwcQ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WmPHWR7Lc13097J6Jf1A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Xq_XknG3s7msg8SmxA5A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_iXJp2ZiKQEaov305oog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mFy.2jMkEaaUJuS9go3Q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3T.oAhAeg7XQLHx6gtEw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bwqUsYqsolWMUiCcLgyQ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9eP2N1GeCIICGojj3msw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NoqICtn3xHJVYplvqUuQ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qMkWkOwvXYpyZLLYmmJg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D_bw1eu7XOkky6NG_BIA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vuB9hJGvsGBgx4PW_sEA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clykiPUl61qvytCvwL0g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WgQZaWPrQ.FzlYbDvUxg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C6q11mZZZUXU6HyHVlVg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SFepYXfWRxbYHZ.caGmA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Ty4CqOTSEv3VFvTjiSIw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7JmY5fl9W.bEoHgPmh7w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Iumfaj4Bbo6FebYnARRg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An3HFsYYpw1xinqVbKtg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lFepG3XdBZIXlWcbo0VA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xv__wQmZ313Hhg05vFCA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i1Sb3oA_wS943G1E.qdQ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9QGNnuc4TdCAwvASBVgA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BFP9nxFyITjPCUo1QA5A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oSv6xZhPsNy1.IDn2a.Q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SQAX.eeAlWu9kRECQLhA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zB7tYJY1tdOH3N3EjqoQ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nbRHs.6PXuowfEUEy8w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mnQ_efMmNe9xvfGbb8Ew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mZ4X_ZlzHKqtzBo1mNQ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D5TDpMVvQArv9ruPojg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BY0X22j.IzXt9fHtk43w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.abvBw7x6eSdQONiAQgQ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o6.41ilv62nzbtd89zZQ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R82vtle6EaSZqcVYopMw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Av3DczE28ajNW3wr1Lsg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WdQD6QhyId6Or3gL8jwA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EuoukC5_975ssErlm8VQ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zfKkXrjjU7geNEcTb72A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9bh9EFyvNQKDLekpVM8w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HQbs.Ez6GLKPQym1JrQw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1lVsw9OLkdh8rxiriYdg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Jpt7Kt4LsCrhzeot6JhQ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QgkJ6Og7w9PQeRu_CUA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qDBn8vOQ_6koqSFMvmbA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tPVwtyB7OJ4epNljq7EA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m0QNxtX3tWhcVayj7mag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iad7TtPF7CQAfR5hOWmw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cuXXBvalCAwkHGuJR2Gw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70CWdrsXGQsExdj83iQg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aj_LcrWouodWcb35LBSQ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AIC5kKwsvVAkHPdeayA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yyD5nP23.9R6WiFaGL_Q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Ura2HXUCj2Dt9eS7aE.A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4h5OATIYUB_uA8YqcwYQ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8BR8rgAxq2QWHRN9yzqA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Y1SqDqwIves3tzAQXlJg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KqNU2g_T7wSAg1cfKEAg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e265ndLofmVBEfdCDOiQ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RDRbrP7nvm5W1ctqMIog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aHrmkhExkoLV90RydjGg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K.VvFtepMpUVrP_uEp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